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7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9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21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sldIdLst>
    <p:sldId id="1188" r:id="rId2"/>
    <p:sldId id="1179" r:id="rId3"/>
    <p:sldId id="1243" r:id="rId4"/>
    <p:sldId id="1181" r:id="rId5"/>
    <p:sldId id="1192" r:id="rId6"/>
    <p:sldId id="1209" r:id="rId7"/>
    <p:sldId id="1180" r:id="rId8"/>
    <p:sldId id="1231" r:id="rId9"/>
    <p:sldId id="1236" r:id="rId10"/>
    <p:sldId id="1239" r:id="rId11"/>
    <p:sldId id="1240" r:id="rId12"/>
    <p:sldId id="1241" r:id="rId13"/>
    <p:sldId id="1242" r:id="rId14"/>
    <p:sldId id="1184" r:id="rId15"/>
    <p:sldId id="1207" r:id="rId16"/>
    <p:sldId id="1208" r:id="rId17"/>
    <p:sldId id="1193" r:id="rId18"/>
    <p:sldId id="1201" r:id="rId19"/>
    <p:sldId id="1185" r:id="rId20"/>
    <p:sldId id="1253" r:id="rId21"/>
    <p:sldId id="1254" r:id="rId22"/>
    <p:sldId id="1257" r:id="rId23"/>
    <p:sldId id="1255" r:id="rId24"/>
    <p:sldId id="1258" r:id="rId25"/>
    <p:sldId id="1262" r:id="rId26"/>
    <p:sldId id="1263" r:id="rId27"/>
    <p:sldId id="1264" r:id="rId28"/>
  </p:sldIdLst>
  <p:sldSz cx="12192000" cy="6858000"/>
  <p:notesSz cx="6858000" cy="9144000"/>
  <p:custDataLst>
    <p:tags r:id="rId3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2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AED"/>
    <a:srgbClr val="F797B0"/>
    <a:srgbClr val="CDD1D9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115" d="100"/>
          <a:sy n="115" d="100"/>
        </p:scale>
        <p:origin x="420" y="11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3.02.2022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Island</c:v>
                </c:pt>
                <c:pt idx="1">
                  <c:v>Dánsko</c:v>
                </c:pt>
                <c:pt idx="2">
                  <c:v>Lotyšsko</c:v>
                </c:pt>
                <c:pt idx="3">
                  <c:v>Estonsko</c:v>
                </c:pt>
                <c:pt idx="4">
                  <c:v>Rakousko</c:v>
                </c:pt>
                <c:pt idx="5">
                  <c:v>Slovensko</c:v>
                </c:pt>
                <c:pt idx="6">
                  <c:v>Norsko</c:v>
                </c:pt>
                <c:pt idx="7">
                  <c:v>Litva</c:v>
                </c:pt>
                <c:pt idx="8">
                  <c:v>Nizozemsko</c:v>
                </c:pt>
                <c:pt idx="9">
                  <c:v>Lichtenštejnsko</c:v>
                </c:pt>
                <c:pt idx="10">
                  <c:v>Kypr</c:v>
                </c:pt>
                <c:pt idx="11">
                  <c:v>Německo</c:v>
                </c:pt>
                <c:pt idx="12">
                  <c:v>Řecko</c:v>
                </c:pt>
                <c:pt idx="13">
                  <c:v>Slovinsko</c:v>
                </c:pt>
                <c:pt idx="14">
                  <c:v>Portugalsko</c:v>
                </c:pt>
                <c:pt idx="15">
                  <c:v>Česká republika</c:v>
                </c:pt>
                <c:pt idx="16">
                  <c:v>Francie</c:v>
                </c:pt>
                <c:pt idx="17">
                  <c:v>Lucembursko</c:v>
                </c:pt>
                <c:pt idx="18">
                  <c:v>Finsko</c:v>
                </c:pt>
                <c:pt idx="19">
                  <c:v>Irsko</c:v>
                </c:pt>
                <c:pt idx="20">
                  <c:v>Chorvatsko</c:v>
                </c:pt>
                <c:pt idx="21">
                  <c:v>Itálie</c:v>
                </c:pt>
                <c:pt idx="22">
                  <c:v>Belgie</c:v>
                </c:pt>
                <c:pt idx="23">
                  <c:v>Velká Británie</c:v>
                </c:pt>
                <c:pt idx="24">
                  <c:v>Rumunsko</c:v>
                </c:pt>
                <c:pt idx="25">
                  <c:v>Bulharsko</c:v>
                </c:pt>
                <c:pt idx="26">
                  <c:v>Maďarsko</c:v>
                </c:pt>
                <c:pt idx="27">
                  <c:v>Polsko</c:v>
                </c:pt>
                <c:pt idx="28">
                  <c:v>Španělsko</c:v>
                </c:pt>
                <c:pt idx="29">
                  <c:v>Švédsko</c:v>
                </c:pt>
                <c:pt idx="30">
                  <c:v>Malta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6664.3048987460661</c:v>
                </c:pt>
                <c:pt idx="1">
                  <c:v>10543.345143877572</c:v>
                </c:pt>
                <c:pt idx="2">
                  <c:v>6795.3398770754975</c:v>
                </c:pt>
                <c:pt idx="3">
                  <c:v>6469.4923008391424</c:v>
                </c:pt>
                <c:pt idx="4">
                  <c:v>5033.9824542324377</c:v>
                </c:pt>
                <c:pt idx="5">
                  <c:v>4956.6745140460398</c:v>
                </c:pt>
                <c:pt idx="6">
                  <c:v>4582.6424571222042</c:v>
                </c:pt>
                <c:pt idx="7">
                  <c:v>13736.458023900446</c:v>
                </c:pt>
                <c:pt idx="8">
                  <c:v>8181.364617780122</c:v>
                </c:pt>
                <c:pt idx="9">
                  <c:v>4253.2325083232254</c:v>
                </c:pt>
                <c:pt idx="10">
                  <c:v>4213.7150128659187</c:v>
                </c:pt>
                <c:pt idx="11">
                  <c:v>3094.7706949719341</c:v>
                </c:pt>
                <c:pt idx="12">
                  <c:v>2334.0811013414573</c:v>
                </c:pt>
                <c:pt idx="13">
                  <c:v>6720.2452834419837</c:v>
                </c:pt>
                <c:pt idx="14">
                  <c:v>4408.5762607264687</c:v>
                </c:pt>
                <c:pt idx="15">
                  <c:v>3637.5371133125036</c:v>
                </c:pt>
                <c:pt idx="16">
                  <c:v>4121.8287237818731</c:v>
                </c:pt>
                <c:pt idx="17">
                  <c:v>2761.823838698755</c:v>
                </c:pt>
                <c:pt idx="18">
                  <c:v>1515.7026995134374</c:v>
                </c:pt>
                <c:pt idx="19">
                  <c:v>1469.2694442877746</c:v>
                </c:pt>
                <c:pt idx="20">
                  <c:v>2025.3735370543091</c:v>
                </c:pt>
                <c:pt idx="21">
                  <c:v>1814.3963812572886</c:v>
                </c:pt>
                <c:pt idx="22">
                  <c:v>2491.8680418383606</c:v>
                </c:pt>
                <c:pt idx="23">
                  <c:v>1429.553274299127</c:v>
                </c:pt>
                <c:pt idx="24">
                  <c:v>1747.1303758663607</c:v>
                </c:pt>
                <c:pt idx="25">
                  <c:v>1382.050618846456</c:v>
                </c:pt>
                <c:pt idx="26">
                  <c:v>1675.3320478393732</c:v>
                </c:pt>
                <c:pt idx="27">
                  <c:v>1483.9163080127903</c:v>
                </c:pt>
                <c:pt idx="28">
                  <c:v>1307.3776149358664</c:v>
                </c:pt>
                <c:pt idx="29">
                  <c:v>2402.7001849124708</c:v>
                </c:pt>
                <c:pt idx="30">
                  <c:v>398.78421343117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7.02.202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Island</c:v>
                </c:pt>
                <c:pt idx="1">
                  <c:v>Dánsko</c:v>
                </c:pt>
                <c:pt idx="2">
                  <c:v>Lotyšsko</c:v>
                </c:pt>
                <c:pt idx="3">
                  <c:v>Estonsko</c:v>
                </c:pt>
                <c:pt idx="4">
                  <c:v>Rakousko</c:v>
                </c:pt>
                <c:pt idx="5">
                  <c:v>Slovensko</c:v>
                </c:pt>
                <c:pt idx="6">
                  <c:v>Norsko</c:v>
                </c:pt>
                <c:pt idx="7">
                  <c:v>Litva</c:v>
                </c:pt>
                <c:pt idx="8">
                  <c:v>Nizozemsko</c:v>
                </c:pt>
                <c:pt idx="9">
                  <c:v>Lichtenštejnsko</c:v>
                </c:pt>
                <c:pt idx="10">
                  <c:v>Kypr</c:v>
                </c:pt>
                <c:pt idx="11">
                  <c:v>Německo</c:v>
                </c:pt>
                <c:pt idx="12">
                  <c:v>Řecko</c:v>
                </c:pt>
                <c:pt idx="13">
                  <c:v>Slovinsko</c:v>
                </c:pt>
                <c:pt idx="14">
                  <c:v>Portugalsko</c:v>
                </c:pt>
                <c:pt idx="15">
                  <c:v>Česká republika</c:v>
                </c:pt>
                <c:pt idx="16">
                  <c:v>Francie</c:v>
                </c:pt>
                <c:pt idx="17">
                  <c:v>Lucembursko</c:v>
                </c:pt>
                <c:pt idx="18">
                  <c:v>Finsko</c:v>
                </c:pt>
                <c:pt idx="19">
                  <c:v>Irsko</c:v>
                </c:pt>
                <c:pt idx="20">
                  <c:v>Chorvatsko</c:v>
                </c:pt>
                <c:pt idx="21">
                  <c:v>Itálie</c:v>
                </c:pt>
                <c:pt idx="22">
                  <c:v>Belgie</c:v>
                </c:pt>
                <c:pt idx="23">
                  <c:v>Velká Británie</c:v>
                </c:pt>
                <c:pt idx="24">
                  <c:v>Rumunsko</c:v>
                </c:pt>
                <c:pt idx="25">
                  <c:v>Bulharsko</c:v>
                </c:pt>
                <c:pt idx="26">
                  <c:v>Maďarsko</c:v>
                </c:pt>
                <c:pt idx="27">
                  <c:v>Polsko</c:v>
                </c:pt>
                <c:pt idx="28">
                  <c:v>Španělsko</c:v>
                </c:pt>
                <c:pt idx="29">
                  <c:v>Švédsko</c:v>
                </c:pt>
                <c:pt idx="30">
                  <c:v>Malta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8427.6667380689523</c:v>
                </c:pt>
                <c:pt idx="1">
                  <c:v>7227.8572904306766</c:v>
                </c:pt>
                <c:pt idx="2">
                  <c:v>6860.8122452723865</c:v>
                </c:pt>
                <c:pt idx="3">
                  <c:v>5338.7721072464819</c:v>
                </c:pt>
                <c:pt idx="4">
                  <c:v>4291.6105310556131</c:v>
                </c:pt>
                <c:pt idx="5">
                  <c:v>3950.8980879547767</c:v>
                </c:pt>
                <c:pt idx="6">
                  <c:v>3555.4197608605737</c:v>
                </c:pt>
                <c:pt idx="7">
                  <c:v>3446.9541067037921</c:v>
                </c:pt>
                <c:pt idx="8">
                  <c:v>3438.3057730294008</c:v>
                </c:pt>
                <c:pt idx="9">
                  <c:v>3383.4877538906239</c:v>
                </c:pt>
                <c:pt idx="10">
                  <c:v>3154.7119667118991</c:v>
                </c:pt>
                <c:pt idx="11">
                  <c:v>2670.7897586571626</c:v>
                </c:pt>
                <c:pt idx="12">
                  <c:v>2130.9942142441641</c:v>
                </c:pt>
                <c:pt idx="13">
                  <c:v>1943.6403463779325</c:v>
                </c:pt>
                <c:pt idx="14">
                  <c:v>1639.4569920926847</c:v>
                </c:pt>
                <c:pt idx="15">
                  <c:v>1622.0964043277222</c:v>
                </c:pt>
                <c:pt idx="16">
                  <c:v>1497.850214859679</c:v>
                </c:pt>
                <c:pt idx="17">
                  <c:v>1363.3430654136348</c:v>
                </c:pt>
                <c:pt idx="18">
                  <c:v>1221.4377086315076</c:v>
                </c:pt>
                <c:pt idx="19">
                  <c:v>927.95964902385765</c:v>
                </c:pt>
                <c:pt idx="20">
                  <c:v>903.88143409644499</c:v>
                </c:pt>
                <c:pt idx="21">
                  <c:v>894.06890720097397</c:v>
                </c:pt>
                <c:pt idx="22">
                  <c:v>810.50541378388607</c:v>
                </c:pt>
                <c:pt idx="23">
                  <c:v>791.46794638713868</c:v>
                </c:pt>
                <c:pt idx="24">
                  <c:v>772.15195243500921</c:v>
                </c:pt>
                <c:pt idx="25">
                  <c:v>755.39287881346741</c:v>
                </c:pt>
                <c:pt idx="26">
                  <c:v>721.34512974324446</c:v>
                </c:pt>
                <c:pt idx="27">
                  <c:v>664.20539384729568</c:v>
                </c:pt>
                <c:pt idx="28">
                  <c:v>546.35055651057007</c:v>
                </c:pt>
                <c:pt idx="29">
                  <c:v>385.6272746717554</c:v>
                </c:pt>
                <c:pt idx="30">
                  <c:v>225.822249516095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1</c:f>
              <c:strCache>
                <c:ptCount val="30"/>
                <c:pt idx="0">
                  <c:v>Bulharsko</c:v>
                </c:pt>
                <c:pt idx="1">
                  <c:v>Maďarsko</c:v>
                </c:pt>
                <c:pt idx="2">
                  <c:v>Rumunsko</c:v>
                </c:pt>
                <c:pt idx="3">
                  <c:v>Polsko</c:v>
                </c:pt>
                <c:pt idx="4">
                  <c:v>Chorvatsko</c:v>
                </c:pt>
                <c:pt idx="5">
                  <c:v>Itálie</c:v>
                </c:pt>
                <c:pt idx="6">
                  <c:v>Česká republika</c:v>
                </c:pt>
                <c:pt idx="7">
                  <c:v>Řecko</c:v>
                </c:pt>
                <c:pt idx="8">
                  <c:v>Slovensko</c:v>
                </c:pt>
                <c:pt idx="9">
                  <c:v>Španělsko</c:v>
                </c:pt>
                <c:pt idx="10">
                  <c:v>Malta</c:v>
                </c:pt>
                <c:pt idx="11">
                  <c:v>Lotyšsko</c:v>
                </c:pt>
                <c:pt idx="12">
                  <c:v>Belgie</c:v>
                </c:pt>
                <c:pt idx="13">
                  <c:v>Německo</c:v>
                </c:pt>
                <c:pt idx="14">
                  <c:v>Litva</c:v>
                </c:pt>
                <c:pt idx="15">
                  <c:v>Slovinsko</c:v>
                </c:pt>
                <c:pt idx="16">
                  <c:v>Švédsko</c:v>
                </c:pt>
                <c:pt idx="17">
                  <c:v>Francie</c:v>
                </c:pt>
                <c:pt idx="18">
                  <c:v>Lichtenštejnsko</c:v>
                </c:pt>
                <c:pt idx="19">
                  <c:v>Portugalsko</c:v>
                </c:pt>
                <c:pt idx="20">
                  <c:v>Lucembursko</c:v>
                </c:pt>
                <c:pt idx="21">
                  <c:v>Rakousko</c:v>
                </c:pt>
                <c:pt idx="22">
                  <c:v>Irsko</c:v>
                </c:pt>
                <c:pt idx="23">
                  <c:v>Estonsko</c:v>
                </c:pt>
                <c:pt idx="24">
                  <c:v>Finsko</c:v>
                </c:pt>
                <c:pt idx="25">
                  <c:v>Nizozemsko</c:v>
                </c:pt>
                <c:pt idx="26">
                  <c:v>Kypr</c:v>
                </c:pt>
                <c:pt idx="27">
                  <c:v>Dánsko</c:v>
                </c:pt>
                <c:pt idx="28">
                  <c:v>Norsko</c:v>
                </c:pt>
                <c:pt idx="29">
                  <c:v>Island</c:v>
                </c:pt>
              </c:strCache>
            </c:strRef>
          </c:cat>
          <c:val>
            <c:numRef>
              <c:f>List1!$B$2:$B$31</c:f>
              <c:numCache>
                <c:formatCode>0.00%</c:formatCode>
                <c:ptCount val="30"/>
                <c:pt idx="0">
                  <c:v>3.2596185314158171E-2</c:v>
                </c:pt>
                <c:pt idx="1">
                  <c:v>2.3946856863156424E-2</c:v>
                </c:pt>
                <c:pt idx="2">
                  <c:v>2.2555453876858988E-2</c:v>
                </c:pt>
                <c:pt idx="3">
                  <c:v>1.968702408483276E-2</c:v>
                </c:pt>
                <c:pt idx="4">
                  <c:v>1.4251997697681276E-2</c:v>
                </c:pt>
                <c:pt idx="5">
                  <c:v>1.2263928695918918E-2</c:v>
                </c:pt>
                <c:pt idx="6">
                  <c:v>1.0807883713436684E-2</c:v>
                </c:pt>
                <c:pt idx="7">
                  <c:v>1.0715314967894692E-2</c:v>
                </c:pt>
                <c:pt idx="8">
                  <c:v>9.7181806472303057E-3</c:v>
                </c:pt>
                <c:pt idx="9">
                  <c:v>9.0274762163502914E-3</c:v>
                </c:pt>
                <c:pt idx="10">
                  <c:v>8.820222257918486E-3</c:v>
                </c:pt>
                <c:pt idx="11">
                  <c:v>8.7513202422779303E-3</c:v>
                </c:pt>
                <c:pt idx="12">
                  <c:v>8.3935077241076746E-3</c:v>
                </c:pt>
                <c:pt idx="13">
                  <c:v>8.3587378793585736E-3</c:v>
                </c:pt>
                <c:pt idx="14">
                  <c:v>7.1878152684913266E-3</c:v>
                </c:pt>
                <c:pt idx="15">
                  <c:v>7.0489121910779504E-3</c:v>
                </c:pt>
                <c:pt idx="16">
                  <c:v>7.0303790184686908E-3</c:v>
                </c:pt>
                <c:pt idx="17">
                  <c:v>6.68953423237566E-3</c:v>
                </c:pt>
                <c:pt idx="18">
                  <c:v>6.4765749852805114E-3</c:v>
                </c:pt>
                <c:pt idx="19">
                  <c:v>6.454881728445618E-3</c:v>
                </c:pt>
                <c:pt idx="20">
                  <c:v>5.3507104525262281E-3</c:v>
                </c:pt>
                <c:pt idx="21">
                  <c:v>5.2602416775395667E-3</c:v>
                </c:pt>
                <c:pt idx="22">
                  <c:v>4.9878904035299629E-3</c:v>
                </c:pt>
                <c:pt idx="23">
                  <c:v>4.4326426059349434E-3</c:v>
                </c:pt>
                <c:pt idx="24">
                  <c:v>3.6192340782581467E-3</c:v>
                </c:pt>
                <c:pt idx="25">
                  <c:v>3.4058061984472694E-3</c:v>
                </c:pt>
                <c:pt idx="26">
                  <c:v>2.9799168628236589E-3</c:v>
                </c:pt>
                <c:pt idx="27">
                  <c:v>1.538255701467901E-3</c:v>
                </c:pt>
                <c:pt idx="28">
                  <c:v>1.3645197539424202E-3</c:v>
                </c:pt>
                <c:pt idx="29">
                  <c:v>5.0637460286346669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Portugalsko</c:v>
                </c:pt>
                <c:pt idx="1">
                  <c:v>Irsko</c:v>
                </c:pt>
                <c:pt idx="2">
                  <c:v>Francie</c:v>
                </c:pt>
                <c:pt idx="3">
                  <c:v>Malta</c:v>
                </c:pt>
                <c:pt idx="4">
                  <c:v>Norsko</c:v>
                </c:pt>
                <c:pt idx="5">
                  <c:v>Španělsko</c:v>
                </c:pt>
                <c:pt idx="6">
                  <c:v>Island</c:v>
                </c:pt>
                <c:pt idx="7">
                  <c:v>Dánsko</c:v>
                </c:pt>
                <c:pt idx="8">
                  <c:v>Itálie</c:v>
                </c:pt>
                <c:pt idx="9">
                  <c:v>Německo</c:v>
                </c:pt>
                <c:pt idx="10">
                  <c:v>Finsko</c:v>
                </c:pt>
                <c:pt idx="11">
                  <c:v>Belgie</c:v>
                </c:pt>
                <c:pt idx="12">
                  <c:v>Nizozemsko</c:v>
                </c:pt>
                <c:pt idx="13">
                  <c:v>Švédsko</c:v>
                </c:pt>
                <c:pt idx="14">
                  <c:v>Kypr</c:v>
                </c:pt>
                <c:pt idx="15">
                  <c:v>Rakousko</c:v>
                </c:pt>
                <c:pt idx="16">
                  <c:v>Lucembursko</c:v>
                </c:pt>
                <c:pt idx="17">
                  <c:v>Řecko</c:v>
                </c:pt>
                <c:pt idx="18">
                  <c:v>Litva</c:v>
                </c:pt>
                <c:pt idx="19">
                  <c:v>Lichtenštejnsko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Chorvatsko</c:v>
                </c:pt>
                <c:pt idx="26">
                  <c:v>Pol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1</c:v>
                </c:pt>
                <c:pt idx="1">
                  <c:v>0.95399999999999996</c:v>
                </c:pt>
                <c:pt idx="2">
                  <c:v>0.94799999999999995</c:v>
                </c:pt>
                <c:pt idx="3">
                  <c:v>0.94699999999999995</c:v>
                </c:pt>
                <c:pt idx="4">
                  <c:v>0.93899999999999995</c:v>
                </c:pt>
                <c:pt idx="5">
                  <c:v>0.93300000000000005</c:v>
                </c:pt>
                <c:pt idx="6">
                  <c:v>0.93200000000000005</c:v>
                </c:pt>
                <c:pt idx="7">
                  <c:v>0.92200000000000004</c:v>
                </c:pt>
                <c:pt idx="8">
                  <c:v>0.91600000000000004</c:v>
                </c:pt>
                <c:pt idx="9">
                  <c:v>0.91300000000000003</c:v>
                </c:pt>
                <c:pt idx="10">
                  <c:v>0.90300000000000002</c:v>
                </c:pt>
                <c:pt idx="11">
                  <c:v>0.89700000000000002</c:v>
                </c:pt>
                <c:pt idx="12">
                  <c:v>0.89400000000000002</c:v>
                </c:pt>
                <c:pt idx="13">
                  <c:v>0.89</c:v>
                </c:pt>
                <c:pt idx="14">
                  <c:v>0.86399999999999999</c:v>
                </c:pt>
                <c:pt idx="15">
                  <c:v>0.85499999999999998</c:v>
                </c:pt>
                <c:pt idx="16">
                  <c:v>0.84</c:v>
                </c:pt>
                <c:pt idx="17">
                  <c:v>0.83199999999999996</c:v>
                </c:pt>
                <c:pt idx="18">
                  <c:v>0.80900000000000005</c:v>
                </c:pt>
                <c:pt idx="19">
                  <c:v>0.79800000000000004</c:v>
                </c:pt>
                <c:pt idx="20">
                  <c:v>0.78600000000000003</c:v>
                </c:pt>
                <c:pt idx="21">
                  <c:v>0.751</c:v>
                </c:pt>
                <c:pt idx="22">
                  <c:v>0.73299999999999998</c:v>
                </c:pt>
                <c:pt idx="23">
                  <c:v>0.73199999999999998</c:v>
                </c:pt>
                <c:pt idx="24">
                  <c:v>0.69399999999999995</c:v>
                </c:pt>
                <c:pt idx="25">
                  <c:v>0.67600000000000005</c:v>
                </c:pt>
                <c:pt idx="26">
                  <c:v>0.66800000000000004</c:v>
                </c:pt>
                <c:pt idx="27">
                  <c:v>0.60799999999999998</c:v>
                </c:pt>
                <c:pt idx="28">
                  <c:v>0.503</c:v>
                </c:pt>
                <c:pt idx="29">
                  <c:v>0.355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Francie</c:v>
                </c:pt>
                <c:pt idx="2">
                  <c:v>Portugalsko</c:v>
                </c:pt>
                <c:pt idx="3">
                  <c:v>Malta</c:v>
                </c:pt>
                <c:pt idx="4">
                  <c:v>Island</c:v>
                </c:pt>
                <c:pt idx="5">
                  <c:v>Norsko</c:v>
                </c:pt>
                <c:pt idx="6">
                  <c:v>Dánsko</c:v>
                </c:pt>
                <c:pt idx="7">
                  <c:v>Německo</c:v>
                </c:pt>
                <c:pt idx="8">
                  <c:v>Belgie</c:v>
                </c:pt>
                <c:pt idx="9">
                  <c:v>Finsko</c:v>
                </c:pt>
                <c:pt idx="10">
                  <c:v>Švédsko</c:v>
                </c:pt>
                <c:pt idx="11">
                  <c:v>Kypr</c:v>
                </c:pt>
                <c:pt idx="12">
                  <c:v>Itálie</c:v>
                </c:pt>
                <c:pt idx="13">
                  <c:v>Španělsko</c:v>
                </c:pt>
                <c:pt idx="14">
                  <c:v>Rakousko</c:v>
                </c:pt>
                <c:pt idx="15">
                  <c:v>Lucembursko</c:v>
                </c:pt>
                <c:pt idx="16">
                  <c:v>Nizozemsko</c:v>
                </c:pt>
                <c:pt idx="17">
                  <c:v>Lichtenštejnsko</c:v>
                </c:pt>
                <c:pt idx="18">
                  <c:v>Řecko</c:v>
                </c:pt>
                <c:pt idx="19">
                  <c:v>Litva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4599999999999995</c:v>
                </c:pt>
                <c:pt idx="1">
                  <c:v>0.94299999999999995</c:v>
                </c:pt>
                <c:pt idx="2">
                  <c:v>0.94199999999999995</c:v>
                </c:pt>
                <c:pt idx="3">
                  <c:v>0.93899999999999995</c:v>
                </c:pt>
                <c:pt idx="4">
                  <c:v>0.92300000000000004</c:v>
                </c:pt>
                <c:pt idx="5">
                  <c:v>0.91600000000000004</c:v>
                </c:pt>
                <c:pt idx="6">
                  <c:v>0.91400000000000003</c:v>
                </c:pt>
                <c:pt idx="7">
                  <c:v>0.90200000000000002</c:v>
                </c:pt>
                <c:pt idx="8">
                  <c:v>0.88900000000000001</c:v>
                </c:pt>
                <c:pt idx="9">
                  <c:v>0.877</c:v>
                </c:pt>
                <c:pt idx="10">
                  <c:v>0.87</c:v>
                </c:pt>
                <c:pt idx="11">
                  <c:v>0.86599999999999999</c:v>
                </c:pt>
                <c:pt idx="12">
                  <c:v>0.86299999999999999</c:v>
                </c:pt>
                <c:pt idx="13">
                  <c:v>0.85799999999999998</c:v>
                </c:pt>
                <c:pt idx="14">
                  <c:v>0.83</c:v>
                </c:pt>
                <c:pt idx="15">
                  <c:v>0.82899999999999996</c:v>
                </c:pt>
                <c:pt idx="16">
                  <c:v>0.82699999999999996</c:v>
                </c:pt>
                <c:pt idx="17">
                  <c:v>0.81699999999999995</c:v>
                </c:pt>
                <c:pt idx="18">
                  <c:v>0.81100000000000005</c:v>
                </c:pt>
                <c:pt idx="19">
                  <c:v>0.78900000000000003</c:v>
                </c:pt>
                <c:pt idx="20">
                  <c:v>0.77</c:v>
                </c:pt>
                <c:pt idx="21">
                  <c:v>0.74199999999999999</c:v>
                </c:pt>
                <c:pt idx="22">
                  <c:v>0.72899999999999998</c:v>
                </c:pt>
                <c:pt idx="23">
                  <c:v>0.70899999999999996</c:v>
                </c:pt>
                <c:pt idx="24">
                  <c:v>0.67700000000000005</c:v>
                </c:pt>
                <c:pt idx="25">
                  <c:v>0.66</c:v>
                </c:pt>
                <c:pt idx="26">
                  <c:v>0.65400000000000003</c:v>
                </c:pt>
                <c:pt idx="27">
                  <c:v>0.59799999999999998</c:v>
                </c:pt>
                <c:pt idx="28">
                  <c:v>0.499</c:v>
                </c:pt>
                <c:pt idx="29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Francie</c:v>
                </c:pt>
                <c:pt idx="1">
                  <c:v>Island</c:v>
                </c:pt>
                <c:pt idx="2">
                  <c:v>Malta</c:v>
                </c:pt>
                <c:pt idx="3">
                  <c:v>Dánsko</c:v>
                </c:pt>
                <c:pt idx="4">
                  <c:v>Belgie</c:v>
                </c:pt>
                <c:pt idx="5">
                  <c:v>Irsko</c:v>
                </c:pt>
                <c:pt idx="6">
                  <c:v>Portugalsko</c:v>
                </c:pt>
                <c:pt idx="7">
                  <c:v>Itálie</c:v>
                </c:pt>
                <c:pt idx="8">
                  <c:v>Německo</c:v>
                </c:pt>
                <c:pt idx="9">
                  <c:v>Norsko</c:v>
                </c:pt>
                <c:pt idx="10">
                  <c:v>Rakousko</c:v>
                </c:pt>
                <c:pt idx="11">
                  <c:v>Lucembursko</c:v>
                </c:pt>
                <c:pt idx="12">
                  <c:v>Nizozemsko</c:v>
                </c:pt>
                <c:pt idx="13">
                  <c:v>Finsko</c:v>
                </c:pt>
                <c:pt idx="14">
                  <c:v>Španělsko</c:v>
                </c:pt>
                <c:pt idx="15">
                  <c:v>Švédsko</c:v>
                </c:pt>
                <c:pt idx="16">
                  <c:v>Kypr</c:v>
                </c:pt>
                <c:pt idx="17">
                  <c:v>Řecko</c:v>
                </c:pt>
                <c:pt idx="18">
                  <c:v>Lichtenštejnsko</c:v>
                </c:pt>
                <c:pt idx="19">
                  <c:v>Maďarsko</c:v>
                </c:pt>
                <c:pt idx="20">
                  <c:v>Česká republika</c:v>
                </c:pt>
                <c:pt idx="21">
                  <c:v>Estonsko</c:v>
                </c:pt>
                <c:pt idx="22">
                  <c:v>Litva</c:v>
                </c:pt>
                <c:pt idx="23">
                  <c:v>Slovensko</c:v>
                </c:pt>
                <c:pt idx="24">
                  <c:v>Slovinsko</c:v>
                </c:pt>
                <c:pt idx="25">
                  <c:v>Polsko</c:v>
                </c:pt>
                <c:pt idx="26">
                  <c:v>Lotyšsko</c:v>
                </c:pt>
                <c:pt idx="27">
                  <c:v>Chorvatsko</c:v>
                </c:pt>
                <c:pt idx="28">
                  <c:v>Bulharsko</c:v>
                </c:pt>
                <c:pt idx="29">
                  <c:v>Rumun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873</c:v>
                </c:pt>
                <c:pt idx="1">
                  <c:v>0.85799999999999998</c:v>
                </c:pt>
                <c:pt idx="2">
                  <c:v>0.77900000000000003</c:v>
                </c:pt>
                <c:pt idx="3">
                  <c:v>0.77700000000000002</c:v>
                </c:pt>
                <c:pt idx="4">
                  <c:v>0.74399999999999999</c:v>
                </c:pt>
                <c:pt idx="5">
                  <c:v>0.73199999999999998</c:v>
                </c:pt>
                <c:pt idx="6">
                  <c:v>0.71899999999999997</c:v>
                </c:pt>
                <c:pt idx="7">
                  <c:v>0.71899999999999997</c:v>
                </c:pt>
                <c:pt idx="8">
                  <c:v>0.68100000000000005</c:v>
                </c:pt>
                <c:pt idx="9">
                  <c:v>0.67700000000000005</c:v>
                </c:pt>
                <c:pt idx="10">
                  <c:v>0.66500000000000004</c:v>
                </c:pt>
                <c:pt idx="11">
                  <c:v>0.66100000000000003</c:v>
                </c:pt>
                <c:pt idx="12">
                  <c:v>0.63900000000000001</c:v>
                </c:pt>
                <c:pt idx="13">
                  <c:v>0.61699999999999999</c:v>
                </c:pt>
                <c:pt idx="14">
                  <c:v>0.61499999999999999</c:v>
                </c:pt>
                <c:pt idx="15">
                  <c:v>0.60599999999999998</c:v>
                </c:pt>
                <c:pt idx="16">
                  <c:v>0.59499999999999997</c:v>
                </c:pt>
                <c:pt idx="17">
                  <c:v>0.59099999999999997</c:v>
                </c:pt>
                <c:pt idx="18">
                  <c:v>0.55900000000000005</c:v>
                </c:pt>
                <c:pt idx="19">
                  <c:v>0.46200000000000002</c:v>
                </c:pt>
                <c:pt idx="20">
                  <c:v>0.45600000000000002</c:v>
                </c:pt>
                <c:pt idx="21">
                  <c:v>0.39800000000000002</c:v>
                </c:pt>
                <c:pt idx="22">
                  <c:v>0.379</c:v>
                </c:pt>
                <c:pt idx="23">
                  <c:v>0.36399999999999999</c:v>
                </c:pt>
                <c:pt idx="24">
                  <c:v>0.36199999999999999</c:v>
                </c:pt>
                <c:pt idx="25">
                  <c:v>0.36</c:v>
                </c:pt>
                <c:pt idx="26">
                  <c:v>0.32300000000000001</c:v>
                </c:pt>
                <c:pt idx="27">
                  <c:v>0.255</c:v>
                </c:pt>
                <c:pt idx="28">
                  <c:v>0.11899999999999999</c:v>
                </c:pt>
                <c:pt idx="29">
                  <c:v>0.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577307703388237E-2"/>
                  <c:y val="4.666372721928256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74399999999999999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89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1688510738611633E-3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66500000000000004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8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11899999999999999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2752692463681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255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654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9.332745443856533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59499999999999997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65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381313554199394E-3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45600000000000002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41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8730793886248232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77700000000000002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914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4535669150020898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39800000000000002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728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220601601147073E-3"/>
                  <c:y val="-9.3327454438565764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61699999999999999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7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392743262970387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873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942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779589409237369E-2"/>
                  <c:y val="2.9982363315696433E-3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68100000000000005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902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476672067665034E-2"/>
                  <c:y val="1.39991181657847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59099999999999997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81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387377081463958E-2"/>
                  <c:y val="-4.2774589148638603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46200000000000002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708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85799999999999998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23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255382592350299E-2"/>
                  <c:y val="-2.333186360964138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73199999999999998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45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9450428135567552E-3"/>
                  <c:y val="-6.6486625514403292E-4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71899999999999997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62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253773343027682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32300000000000001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7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388985409937612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55900000000000005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816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431493902467101E-2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379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89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6428891188672612E-2"/>
                  <c:y val="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66100000000000003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828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039283942591126E-3"/>
                  <c:y val="-6.6486625514403292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77900000000000003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38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056582484847758E-2"/>
                  <c:y val="-2.1387294574319301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63900000000000001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26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14019885864715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67700000000000005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916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36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71899999999999997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41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105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4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36399999999999999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97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245935997577379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36199999999999999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77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3298374399031074E-2"/>
                  <c:y val="4.666372721928256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61499999999999999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57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631141717207023E-2"/>
                  <c:y val="-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60599999999999998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I$2:$I$36</c:f>
              <c:numCache>
                <c:formatCode>General</c:formatCode>
                <c:ptCount val="35"/>
                <c:pt idx="0">
                  <c:v>56.290160764560284</c:v>
                </c:pt>
                <c:pt idx="1">
                  <c:v>100.52558312301909</c:v>
                </c:pt>
                <c:pt idx="2">
                  <c:v>148.00684577224965</c:v>
                </c:pt>
                <c:pt idx="3">
                  <c:v>172.95815816788803</c:v>
                </c:pt>
                <c:pt idx="4">
                  <c:v>188.07648380030619</c:v>
                </c:pt>
                <c:pt idx="5">
                  <c:v>204.16682577648484</c:v>
                </c:pt>
                <c:pt idx="6">
                  <c:v>222.1230919839895</c:v>
                </c:pt>
                <c:pt idx="7">
                  <c:v>235.91357386109189</c:v>
                </c:pt>
                <c:pt idx="8">
                  <c:v>242.54411392031551</c:v>
                </c:pt>
                <c:pt idx="9">
                  <c:v>241.93660370546516</c:v>
                </c:pt>
                <c:pt idx="10">
                  <c:v>238.84698032708351</c:v>
                </c:pt>
                <c:pt idx="11">
                  <c:v>245.04358451855683</c:v>
                </c:pt>
                <c:pt idx="12">
                  <c:v>244.06288945744132</c:v>
                </c:pt>
                <c:pt idx="13">
                  <c:v>234.0042560429909</c:v>
                </c:pt>
                <c:pt idx="14">
                  <c:v>245.06962067062184</c:v>
                </c:pt>
                <c:pt idx="15">
                  <c:v>327.9947649976915</c:v>
                </c:pt>
                <c:pt idx="16">
                  <c:v>545.63963882649853</c:v>
                </c:pt>
                <c:pt idx="17">
                  <c:v>822.94201575360773</c:v>
                </c:pt>
                <c:pt idx="18">
                  <c:v>977.67486747598593</c:v>
                </c:pt>
                <c:pt idx="19">
                  <c:v>1141.4162278128592</c:v>
                </c:pt>
                <c:pt idx="20">
                  <c:v>1620.4814258091169</c:v>
                </c:pt>
                <c:pt idx="21">
                  <c:v>2072.5037405271801</c:v>
                </c:pt>
                <c:pt idx="22">
                  <c:v>2109.709401828085</c:v>
                </c:pt>
                <c:pt idx="23">
                  <c:v>1789.4560527110577</c:v>
                </c:pt>
                <c:pt idx="24">
                  <c:v>1266.9799105050668</c:v>
                </c:pt>
                <c:pt idx="25">
                  <c:v>887.51167287484247</c:v>
                </c:pt>
                <c:pt idx="26">
                  <c:v>1067.5343069697044</c:v>
                </c:pt>
                <c:pt idx="27">
                  <c:v>2027.4178038679306</c:v>
                </c:pt>
                <c:pt idx="28">
                  <c:v>3076.3015472417301</c:v>
                </c:pt>
                <c:pt idx="29">
                  <c:v>4775.6291202210641</c:v>
                </c:pt>
                <c:pt idx="30">
                  <c:v>5815.6779293274685</c:v>
                </c:pt>
                <c:pt idx="31">
                  <c:v>4375.3493183735391</c:v>
                </c:pt>
                <c:pt idx="32">
                  <c:v>2491.8680418383606</c:v>
                </c:pt>
                <c:pt idx="33">
                  <c:v>1428.0395471792433</c:v>
                </c:pt>
                <c:pt idx="34">
                  <c:v>810.50541378388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C$2:$C$36</c:f>
              <c:numCache>
                <c:formatCode>General</c:formatCode>
                <c:ptCount val="35"/>
                <c:pt idx="0">
                  <c:v>16.037121588219271</c:v>
                </c:pt>
                <c:pt idx="1">
                  <c:v>22.246246214795129</c:v>
                </c:pt>
                <c:pt idx="2">
                  <c:v>27.800794450015097</c:v>
                </c:pt>
                <c:pt idx="3">
                  <c:v>27.71663462826934</c:v>
                </c:pt>
                <c:pt idx="4">
                  <c:v>23.789176280134008</c:v>
                </c:pt>
                <c:pt idx="5">
                  <c:v>22.386512584371392</c:v>
                </c:pt>
                <c:pt idx="6">
                  <c:v>23.246812984439128</c:v>
                </c:pt>
                <c:pt idx="7">
                  <c:v>24.172571023642458</c:v>
                </c:pt>
                <c:pt idx="8">
                  <c:v>24.518561401930569</c:v>
                </c:pt>
                <c:pt idx="9">
                  <c:v>28.773307945743845</c:v>
                </c:pt>
                <c:pt idx="10">
                  <c:v>40.817513546692197</c:v>
                </c:pt>
                <c:pt idx="11">
                  <c:v>53.095496430267652</c:v>
                </c:pt>
                <c:pt idx="12">
                  <c:v>59.295269965538417</c:v>
                </c:pt>
                <c:pt idx="13">
                  <c:v>72.714085988334148</c:v>
                </c:pt>
                <c:pt idx="14">
                  <c:v>98.158405429468047</c:v>
                </c:pt>
                <c:pt idx="15">
                  <c:v>146.04534400280383</c:v>
                </c:pt>
                <c:pt idx="16">
                  <c:v>291.45481379686197</c:v>
                </c:pt>
                <c:pt idx="17">
                  <c:v>523.21226070206683</c:v>
                </c:pt>
                <c:pt idx="18">
                  <c:v>822.49393792128421</c:v>
                </c:pt>
                <c:pt idx="19">
                  <c:v>1221.102906983105</c:v>
                </c:pt>
                <c:pt idx="20">
                  <c:v>1725.4540165228173</c:v>
                </c:pt>
                <c:pt idx="21">
                  <c:v>2207.9235724086325</c:v>
                </c:pt>
                <c:pt idx="22">
                  <c:v>2272.8481993398318</c:v>
                </c:pt>
                <c:pt idx="23">
                  <c:v>1922.9023094296685</c:v>
                </c:pt>
                <c:pt idx="24">
                  <c:v>1492.7334072131887</c:v>
                </c:pt>
                <c:pt idx="25">
                  <c:v>1019.9889862846609</c:v>
                </c:pt>
                <c:pt idx="26">
                  <c:v>715.67642194330824</c:v>
                </c:pt>
                <c:pt idx="27">
                  <c:v>774.7098613523043</c:v>
                </c:pt>
                <c:pt idx="28">
                  <c:v>1118.708457192434</c:v>
                </c:pt>
                <c:pt idx="29">
                  <c:v>2172.4455319971435</c:v>
                </c:pt>
                <c:pt idx="30">
                  <c:v>3821.7910163878805</c:v>
                </c:pt>
                <c:pt idx="31">
                  <c:v>4475.9279064524308</c:v>
                </c:pt>
                <c:pt idx="32">
                  <c:v>3637.5371133125036</c:v>
                </c:pt>
                <c:pt idx="33">
                  <c:v>2486.66090203058</c:v>
                </c:pt>
                <c:pt idx="34">
                  <c:v>1622.0964043277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D$2:$D$36</c:f>
              <c:numCache>
                <c:formatCode>General</c:formatCode>
                <c:ptCount val="35"/>
                <c:pt idx="0">
                  <c:v>42.040863326998242</c:v>
                </c:pt>
                <c:pt idx="1">
                  <c:v>61.03812857641455</c:v>
                </c:pt>
                <c:pt idx="2">
                  <c:v>113.08638700743325</c:v>
                </c:pt>
                <c:pt idx="3">
                  <c:v>256.63910525777283</c:v>
                </c:pt>
                <c:pt idx="4">
                  <c:v>407.94729476209642</c:v>
                </c:pt>
                <c:pt idx="5">
                  <c:v>461.21509770556889</c:v>
                </c:pt>
                <c:pt idx="6">
                  <c:v>481.07094605875898</c:v>
                </c:pt>
                <c:pt idx="7">
                  <c:v>468.31251997171256</c:v>
                </c:pt>
                <c:pt idx="8">
                  <c:v>407.52988671337596</c:v>
                </c:pt>
                <c:pt idx="9">
                  <c:v>327.14392954413574</c:v>
                </c:pt>
                <c:pt idx="10">
                  <c:v>246.32273907142545</c:v>
                </c:pt>
                <c:pt idx="11">
                  <c:v>180.59656849585866</c:v>
                </c:pt>
                <c:pt idx="12">
                  <c:v>134.72178995979453</c:v>
                </c:pt>
                <c:pt idx="13">
                  <c:v>108.57808299367311</c:v>
                </c:pt>
                <c:pt idx="14">
                  <c:v>93.043373479372079</c:v>
                </c:pt>
                <c:pt idx="15">
                  <c:v>91.963460129123774</c:v>
                </c:pt>
                <c:pt idx="16">
                  <c:v>102.03472906266373</c:v>
                </c:pt>
                <c:pt idx="17">
                  <c:v>112.43873608486344</c:v>
                </c:pt>
                <c:pt idx="18">
                  <c:v>132.230710608534</c:v>
                </c:pt>
                <c:pt idx="19">
                  <c:v>173.88238920683202</c:v>
                </c:pt>
                <c:pt idx="20">
                  <c:v>281.71775325260393</c:v>
                </c:pt>
                <c:pt idx="21">
                  <c:v>474.50531055931253</c:v>
                </c:pt>
                <c:pt idx="22">
                  <c:v>726.20533481354255</c:v>
                </c:pt>
                <c:pt idx="23">
                  <c:v>938.43133242472072</c:v>
                </c:pt>
                <c:pt idx="24">
                  <c:v>1047.1015125679335</c:v>
                </c:pt>
                <c:pt idx="25">
                  <c:v>1316.2985097968194</c:v>
                </c:pt>
                <c:pt idx="26">
                  <c:v>2476.756759069222</c:v>
                </c:pt>
                <c:pt idx="27">
                  <c:v>4294.3846169477529</c:v>
                </c:pt>
                <c:pt idx="28">
                  <c:v>5597.1062243769393</c:v>
                </c:pt>
                <c:pt idx="29">
                  <c:v>6691.7447204863392</c:v>
                </c:pt>
                <c:pt idx="30">
                  <c:v>7254.1983525424221</c:v>
                </c:pt>
                <c:pt idx="31">
                  <c:v>6198.2183776712782</c:v>
                </c:pt>
                <c:pt idx="32">
                  <c:v>4121.8287237818731</c:v>
                </c:pt>
                <c:pt idx="33">
                  <c:v>2376.9056237133877</c:v>
                </c:pt>
                <c:pt idx="34">
                  <c:v>1497.850214859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F$2:$F$36</c:f>
              <c:numCache>
                <c:formatCode>General</c:formatCode>
                <c:ptCount val="35"/>
                <c:pt idx="0">
                  <c:v>18.290958803710598</c:v>
                </c:pt>
                <c:pt idx="1">
                  <c:v>24.241514564492419</c:v>
                </c:pt>
                <c:pt idx="2">
                  <c:v>46.424059708235319</c:v>
                </c:pt>
                <c:pt idx="3">
                  <c:v>84.13270976740219</c:v>
                </c:pt>
                <c:pt idx="4">
                  <c:v>116.91693540576988</c:v>
                </c:pt>
                <c:pt idx="5">
                  <c:v>135.80814750966641</c:v>
                </c:pt>
                <c:pt idx="6">
                  <c:v>143.79587578364914</c:v>
                </c:pt>
                <c:pt idx="7">
                  <c:v>148.46879742504078</c:v>
                </c:pt>
                <c:pt idx="8">
                  <c:v>153.33956791956635</c:v>
                </c:pt>
                <c:pt idx="9">
                  <c:v>144.38439228746273</c:v>
                </c:pt>
                <c:pt idx="10">
                  <c:v>122.51371059018514</c:v>
                </c:pt>
                <c:pt idx="11">
                  <c:v>103.89412148804871</c:v>
                </c:pt>
                <c:pt idx="12">
                  <c:v>88.203701423411829</c:v>
                </c:pt>
                <c:pt idx="13">
                  <c:v>74.791896540207048</c:v>
                </c:pt>
                <c:pt idx="14">
                  <c:v>65.352158886444954</c:v>
                </c:pt>
                <c:pt idx="15">
                  <c:v>60.313719872314387</c:v>
                </c:pt>
                <c:pt idx="16">
                  <c:v>72.739633860241725</c:v>
                </c:pt>
                <c:pt idx="17">
                  <c:v>96.689405200621422</c:v>
                </c:pt>
                <c:pt idx="18">
                  <c:v>119.35483568082674</c:v>
                </c:pt>
                <c:pt idx="19">
                  <c:v>155.81770863932837</c:v>
                </c:pt>
                <c:pt idx="20">
                  <c:v>206.37982741141536</c:v>
                </c:pt>
                <c:pt idx="21">
                  <c:v>260.49651879912858</c:v>
                </c:pt>
                <c:pt idx="22">
                  <c:v>319.98866292537838</c:v>
                </c:pt>
                <c:pt idx="23">
                  <c:v>382.08469916109402</c:v>
                </c:pt>
                <c:pt idx="24">
                  <c:v>496.82362049719484</c:v>
                </c:pt>
                <c:pt idx="25">
                  <c:v>785.25706803291018</c:v>
                </c:pt>
                <c:pt idx="26">
                  <c:v>1861.4894383587477</c:v>
                </c:pt>
                <c:pt idx="27">
                  <c:v>3379.8519580866255</c:v>
                </c:pt>
                <c:pt idx="28">
                  <c:v>4016.6553188612597</c:v>
                </c:pt>
                <c:pt idx="29">
                  <c:v>3917.5095698484251</c:v>
                </c:pt>
                <c:pt idx="30">
                  <c:v>3428.7927222741323</c:v>
                </c:pt>
                <c:pt idx="31">
                  <c:v>2586.7496800213971</c:v>
                </c:pt>
                <c:pt idx="32">
                  <c:v>1814.3963812572886</c:v>
                </c:pt>
                <c:pt idx="33">
                  <c:v>1309.8717456546356</c:v>
                </c:pt>
                <c:pt idx="34">
                  <c:v>894.068907200973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K$2:$K$36</c:f>
              <c:numCache>
                <c:formatCode>General</c:formatCode>
                <c:ptCount val="35"/>
                <c:pt idx="0">
                  <c:v>6.4690958394501434</c:v>
                </c:pt>
                <c:pt idx="1">
                  <c:v>5.0872478357701283</c:v>
                </c:pt>
                <c:pt idx="2">
                  <c:v>6.1620185052990291</c:v>
                </c:pt>
                <c:pt idx="3">
                  <c:v>7.4005637530418573</c:v>
                </c:pt>
                <c:pt idx="4">
                  <c:v>8.0044825102057153</c:v>
                </c:pt>
                <c:pt idx="5">
                  <c:v>7.6666974426394896</c:v>
                </c:pt>
                <c:pt idx="6">
                  <c:v>8.7824117567218707</c:v>
                </c:pt>
                <c:pt idx="7">
                  <c:v>11.361861363591233</c:v>
                </c:pt>
                <c:pt idx="8">
                  <c:v>17.636474891412337</c:v>
                </c:pt>
                <c:pt idx="9">
                  <c:v>26.275583892197023</c:v>
                </c:pt>
                <c:pt idx="10">
                  <c:v>34.576907825415482</c:v>
                </c:pt>
                <c:pt idx="11">
                  <c:v>46.501744301617094</c:v>
                </c:pt>
                <c:pt idx="12">
                  <c:v>57.884077487485065</c:v>
                </c:pt>
                <c:pt idx="13">
                  <c:v>68.017629514471835</c:v>
                </c:pt>
                <c:pt idx="14">
                  <c:v>83.903763601222821</c:v>
                </c:pt>
                <c:pt idx="15">
                  <c:v>117.84604493605933</c:v>
                </c:pt>
                <c:pt idx="16">
                  <c:v>215.51710901839047</c:v>
                </c:pt>
                <c:pt idx="17">
                  <c:v>391.42124193128711</c:v>
                </c:pt>
                <c:pt idx="18">
                  <c:v>608.88317406596798</c:v>
                </c:pt>
                <c:pt idx="19">
                  <c:v>882.48907879461092</c:v>
                </c:pt>
                <c:pt idx="20">
                  <c:v>1184.2949187094646</c:v>
                </c:pt>
                <c:pt idx="21">
                  <c:v>1390.7941900149506</c:v>
                </c:pt>
                <c:pt idx="22">
                  <c:v>1349.8096018169151</c:v>
                </c:pt>
                <c:pt idx="23">
                  <c:v>1046.3148365642305</c:v>
                </c:pt>
                <c:pt idx="24">
                  <c:v>725.0300577530578</c:v>
                </c:pt>
                <c:pt idx="25">
                  <c:v>474.74155859762283</c:v>
                </c:pt>
                <c:pt idx="26">
                  <c:v>346.78243345685348</c:v>
                </c:pt>
                <c:pt idx="27">
                  <c:v>535.2460293365308</c:v>
                </c:pt>
                <c:pt idx="28">
                  <c:v>879.76632643180437</c:v>
                </c:pt>
                <c:pt idx="29">
                  <c:v>1471.6374161858007</c:v>
                </c:pt>
                <c:pt idx="30">
                  <c:v>2100.1325959928863</c:v>
                </c:pt>
                <c:pt idx="31">
                  <c:v>2141.1376560131985</c:v>
                </c:pt>
                <c:pt idx="32">
                  <c:v>1675.3320478393732</c:v>
                </c:pt>
                <c:pt idx="33">
                  <c:v>1116.9938029746786</c:v>
                </c:pt>
                <c:pt idx="34">
                  <c:v>721.345129743244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E$2:$E$36</c:f>
              <c:numCache>
                <c:formatCode>General</c:formatCode>
                <c:ptCount val="35"/>
                <c:pt idx="0">
                  <c:v>11.077749605848908</c:v>
                </c:pt>
                <c:pt idx="1">
                  <c:v>11.963921478150073</c:v>
                </c:pt>
                <c:pt idx="2">
                  <c:v>17.654900408409802</c:v>
                </c:pt>
                <c:pt idx="3">
                  <c:v>26.128242584944836</c:v>
                </c:pt>
                <c:pt idx="4">
                  <c:v>33.827236476863924</c:v>
                </c:pt>
                <c:pt idx="5">
                  <c:v>43.191560142374755</c:v>
                </c:pt>
                <c:pt idx="6">
                  <c:v>63.106980387862158</c:v>
                </c:pt>
                <c:pt idx="7">
                  <c:v>98.242432600226309</c:v>
                </c:pt>
                <c:pt idx="8">
                  <c:v>139.47527635185668</c:v>
                </c:pt>
                <c:pt idx="9">
                  <c:v>169.61233443510829</c:v>
                </c:pt>
                <c:pt idx="10">
                  <c:v>176.00912461237044</c:v>
                </c:pt>
                <c:pt idx="11">
                  <c:v>160.0856862068286</c:v>
                </c:pt>
                <c:pt idx="12">
                  <c:v>138.36305249584777</c:v>
                </c:pt>
                <c:pt idx="13">
                  <c:v>132.38229416094137</c:v>
                </c:pt>
                <c:pt idx="14">
                  <c:v>137.6644556738573</c:v>
                </c:pt>
                <c:pt idx="15">
                  <c:v>148.32857824568774</c:v>
                </c:pt>
                <c:pt idx="16">
                  <c:v>196.08807182479538</c:v>
                </c:pt>
                <c:pt idx="17">
                  <c:v>282.28481946340287</c:v>
                </c:pt>
                <c:pt idx="18">
                  <c:v>378.67554964389541</c:v>
                </c:pt>
                <c:pt idx="19">
                  <c:v>540.20412085311386</c:v>
                </c:pt>
                <c:pt idx="20">
                  <c:v>749.25410961604575</c:v>
                </c:pt>
                <c:pt idx="21">
                  <c:v>908.03999691655474</c:v>
                </c:pt>
                <c:pt idx="22">
                  <c:v>952.07564478532765</c:v>
                </c:pt>
                <c:pt idx="23">
                  <c:v>873.65604730960195</c:v>
                </c:pt>
                <c:pt idx="24">
                  <c:v>735.66213289353232</c:v>
                </c:pt>
                <c:pt idx="25">
                  <c:v>562.19729550204283</c:v>
                </c:pt>
                <c:pt idx="26">
                  <c:v>484.09272791850577</c:v>
                </c:pt>
                <c:pt idx="27">
                  <c:v>657.28461956370984</c:v>
                </c:pt>
                <c:pt idx="28">
                  <c:v>990.60788877415143</c:v>
                </c:pt>
                <c:pt idx="29">
                  <c:v>1540.2484775428959</c:v>
                </c:pt>
                <c:pt idx="30">
                  <c:v>2280.7286439402419</c:v>
                </c:pt>
                <c:pt idx="31">
                  <c:v>2858.2806406760515</c:v>
                </c:pt>
                <c:pt idx="32">
                  <c:v>3094.7706949719341</c:v>
                </c:pt>
                <c:pt idx="33">
                  <c:v>2951.2793886967588</c:v>
                </c:pt>
                <c:pt idx="34">
                  <c:v>2670.7897586571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G$2:$G$36</c:f>
              <c:numCache>
                <c:formatCode>General</c:formatCode>
                <c:ptCount val="35"/>
                <c:pt idx="0">
                  <c:v>58.267703417791729</c:v>
                </c:pt>
                <c:pt idx="1">
                  <c:v>258.04843118674995</c:v>
                </c:pt>
                <c:pt idx="2">
                  <c:v>627.39317372283404</c:v>
                </c:pt>
                <c:pt idx="3">
                  <c:v>661.10261704883249</c:v>
                </c:pt>
                <c:pt idx="4">
                  <c:v>398.51018966732033</c:v>
                </c:pt>
                <c:pt idx="5">
                  <c:v>243.75006642219469</c:v>
                </c:pt>
                <c:pt idx="6">
                  <c:v>196.16161575543074</c:v>
                </c:pt>
                <c:pt idx="7">
                  <c:v>189.74487270922415</c:v>
                </c:pt>
                <c:pt idx="8">
                  <c:v>199.61413372389103</c:v>
                </c:pt>
                <c:pt idx="9">
                  <c:v>203.86515418422488</c:v>
                </c:pt>
                <c:pt idx="10">
                  <c:v>197.46564500474935</c:v>
                </c:pt>
                <c:pt idx="11">
                  <c:v>176.57245390443305</c:v>
                </c:pt>
                <c:pt idx="12">
                  <c:v>147.25190197261711</c:v>
                </c:pt>
                <c:pt idx="13">
                  <c:v>133.01672805274254</c:v>
                </c:pt>
                <c:pt idx="14">
                  <c:v>158.98816521648465</c:v>
                </c:pt>
                <c:pt idx="15">
                  <c:v>227.84895205164875</c:v>
                </c:pt>
                <c:pt idx="16">
                  <c:v>335.25615414200189</c:v>
                </c:pt>
                <c:pt idx="17">
                  <c:v>484.20846429875252</c:v>
                </c:pt>
                <c:pt idx="18">
                  <c:v>680.01965809731792</c:v>
                </c:pt>
                <c:pt idx="19">
                  <c:v>934.5351466041958</c:v>
                </c:pt>
                <c:pt idx="20">
                  <c:v>1382.8971681022956</c:v>
                </c:pt>
                <c:pt idx="21">
                  <c:v>1746.9051565739878</c:v>
                </c:pt>
                <c:pt idx="22">
                  <c:v>1776.8059153524168</c:v>
                </c:pt>
                <c:pt idx="23">
                  <c:v>1612.3373805154479</c:v>
                </c:pt>
                <c:pt idx="24">
                  <c:v>1310.8251374329063</c:v>
                </c:pt>
                <c:pt idx="25">
                  <c:v>1061.8589540134371</c:v>
                </c:pt>
                <c:pt idx="26">
                  <c:v>1067.7357025687365</c:v>
                </c:pt>
                <c:pt idx="27">
                  <c:v>1594.2418204478104</c:v>
                </c:pt>
                <c:pt idx="28">
                  <c:v>2303.9267078115663</c:v>
                </c:pt>
                <c:pt idx="29">
                  <c:v>3115.6245969788456</c:v>
                </c:pt>
                <c:pt idx="30">
                  <c:v>4274.7400055780281</c:v>
                </c:pt>
                <c:pt idx="31">
                  <c:v>5707.59240871149</c:v>
                </c:pt>
                <c:pt idx="32">
                  <c:v>8181.364617780122</c:v>
                </c:pt>
                <c:pt idx="33">
                  <c:v>6917.7602751903833</c:v>
                </c:pt>
                <c:pt idx="34">
                  <c:v>3438.3057730294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J$2:$J$36</c:f>
              <c:numCache>
                <c:formatCode>General</c:formatCode>
                <c:ptCount val="35"/>
                <c:pt idx="0">
                  <c:v>3.859514921411582</c:v>
                </c:pt>
                <c:pt idx="1">
                  <c:v>3.106053305354441</c:v>
                </c:pt>
                <c:pt idx="2">
                  <c:v>3.1323981171046906</c:v>
                </c:pt>
                <c:pt idx="3">
                  <c:v>3.6013357662591354</c:v>
                </c:pt>
                <c:pt idx="4">
                  <c:v>4.3047422399908024</c:v>
                </c:pt>
                <c:pt idx="5">
                  <c:v>5.1056245171983941</c:v>
                </c:pt>
                <c:pt idx="6">
                  <c:v>6.1725893930835074</c:v>
                </c:pt>
                <c:pt idx="7">
                  <c:v>6.984009594991198</c:v>
                </c:pt>
                <c:pt idx="8">
                  <c:v>7.8033332404239637</c:v>
                </c:pt>
                <c:pt idx="9">
                  <c:v>10.261304176722261</c:v>
                </c:pt>
                <c:pt idx="10">
                  <c:v>14.579218822588187</c:v>
                </c:pt>
                <c:pt idx="11">
                  <c:v>20.103725846615554</c:v>
                </c:pt>
                <c:pt idx="12">
                  <c:v>25.654577682393167</c:v>
                </c:pt>
                <c:pt idx="13">
                  <c:v>34.917413493780963</c:v>
                </c:pt>
                <c:pt idx="14">
                  <c:v>51.772824051590725</c:v>
                </c:pt>
                <c:pt idx="15">
                  <c:v>77.917415232538531</c:v>
                </c:pt>
                <c:pt idx="16">
                  <c:v>138.51048225811286</c:v>
                </c:pt>
                <c:pt idx="17">
                  <c:v>234.55049349364819</c:v>
                </c:pt>
                <c:pt idx="18">
                  <c:v>357.38581276036246</c:v>
                </c:pt>
                <c:pt idx="19">
                  <c:v>484.39678468949137</c:v>
                </c:pt>
                <c:pt idx="20">
                  <c:v>648.62507217819791</c:v>
                </c:pt>
                <c:pt idx="21">
                  <c:v>808.64609323038974</c:v>
                </c:pt>
                <c:pt idx="22">
                  <c:v>861.25404781446332</c:v>
                </c:pt>
                <c:pt idx="23">
                  <c:v>839.44054368525667</c:v>
                </c:pt>
                <c:pt idx="24">
                  <c:v>747.58672303683602</c:v>
                </c:pt>
                <c:pt idx="25">
                  <c:v>567.08787981117507</c:v>
                </c:pt>
                <c:pt idx="26">
                  <c:v>435.78270356675557</c:v>
                </c:pt>
                <c:pt idx="27">
                  <c:v>437.6505507198483</c:v>
                </c:pt>
                <c:pt idx="28">
                  <c:v>499.61618243761063</c:v>
                </c:pt>
                <c:pt idx="29">
                  <c:v>859.74975906352415</c:v>
                </c:pt>
                <c:pt idx="30">
                  <c:v>1482.2513159101745</c:v>
                </c:pt>
                <c:pt idx="31">
                  <c:v>1777.1656765671701</c:v>
                </c:pt>
                <c:pt idx="32">
                  <c:v>1483.9163080127903</c:v>
                </c:pt>
                <c:pt idx="33">
                  <c:v>990.44900463768795</c:v>
                </c:pt>
                <c:pt idx="34">
                  <c:v>664.20539384729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14.739810881036243</c:v>
                </c:pt>
                <c:pt idx="1">
                  <c:v>19.390940229168109</c:v>
                </c:pt>
                <c:pt idx="2">
                  <c:v>36.916934874302669</c:v>
                </c:pt>
                <c:pt idx="3">
                  <c:v>53.094776085196109</c:v>
                </c:pt>
                <c:pt idx="4">
                  <c:v>64.980995530421978</c:v>
                </c:pt>
                <c:pt idx="5">
                  <c:v>77.72104548400057</c:v>
                </c:pt>
                <c:pt idx="6">
                  <c:v>107.49276715682528</c:v>
                </c:pt>
                <c:pt idx="7">
                  <c:v>156.90259052176233</c:v>
                </c:pt>
                <c:pt idx="8">
                  <c:v>196.61694377211535</c:v>
                </c:pt>
                <c:pt idx="9">
                  <c:v>233.02832110857759</c:v>
                </c:pt>
                <c:pt idx="10">
                  <c:v>284.97716677466872</c:v>
                </c:pt>
                <c:pt idx="11">
                  <c:v>312.42332377342757</c:v>
                </c:pt>
                <c:pt idx="12">
                  <c:v>286.62865473161412</c:v>
                </c:pt>
                <c:pt idx="13">
                  <c:v>273.66391253899536</c:v>
                </c:pt>
                <c:pt idx="14">
                  <c:v>285.12321673004487</c:v>
                </c:pt>
                <c:pt idx="15">
                  <c:v>316.18691877735068</c:v>
                </c:pt>
                <c:pt idx="16">
                  <c:v>440.57654230999805</c:v>
                </c:pt>
                <c:pt idx="17">
                  <c:v>656.43837635590523</c:v>
                </c:pt>
                <c:pt idx="18">
                  <c:v>1023.214752753154</c:v>
                </c:pt>
                <c:pt idx="19">
                  <c:v>1520.3688008534709</c:v>
                </c:pt>
                <c:pt idx="20">
                  <c:v>1978.6960300476437</c:v>
                </c:pt>
                <c:pt idx="21">
                  <c:v>2021.9717552867837</c:v>
                </c:pt>
                <c:pt idx="22">
                  <c:v>1500.5621799820785</c:v>
                </c:pt>
                <c:pt idx="23">
                  <c:v>901.04958238700453</c:v>
                </c:pt>
                <c:pt idx="24">
                  <c:v>541.30607307171374</c:v>
                </c:pt>
                <c:pt idx="25">
                  <c:v>376.48308112378476</c:v>
                </c:pt>
                <c:pt idx="26">
                  <c:v>424.37623187520057</c:v>
                </c:pt>
                <c:pt idx="27">
                  <c:v>961.79512921151888</c:v>
                </c:pt>
                <c:pt idx="28">
                  <c:v>1952.4182726918939</c:v>
                </c:pt>
                <c:pt idx="29">
                  <c:v>3234.2762618042066</c:v>
                </c:pt>
                <c:pt idx="30">
                  <c:v>4539.0753285225228</c:v>
                </c:pt>
                <c:pt idx="31">
                  <c:v>5158.2372624216614</c:v>
                </c:pt>
                <c:pt idx="32">
                  <c:v>5033.9824542324377</c:v>
                </c:pt>
                <c:pt idx="33">
                  <c:v>4634.2100225321374</c:v>
                </c:pt>
                <c:pt idx="34">
                  <c:v>4291.61053105561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L$2:$L$36</c:f>
              <c:numCache>
                <c:formatCode>General</c:formatCode>
                <c:ptCount val="35"/>
                <c:pt idx="0">
                  <c:v>11.359736659317649</c:v>
                </c:pt>
                <c:pt idx="1">
                  <c:v>8.4831581826839866</c:v>
                </c:pt>
                <c:pt idx="2">
                  <c:v>8.2266480000542348</c:v>
                </c:pt>
                <c:pt idx="3">
                  <c:v>9.7657090958327544</c:v>
                </c:pt>
                <c:pt idx="4">
                  <c:v>13.485106743964177</c:v>
                </c:pt>
                <c:pt idx="5">
                  <c:v>15.390610957785205</c:v>
                </c:pt>
                <c:pt idx="6">
                  <c:v>18.13893434310399</c:v>
                </c:pt>
                <c:pt idx="7">
                  <c:v>22.811084098145926</c:v>
                </c:pt>
                <c:pt idx="8">
                  <c:v>27.446589541383613</c:v>
                </c:pt>
                <c:pt idx="9">
                  <c:v>46.373376588278987</c:v>
                </c:pt>
                <c:pt idx="10">
                  <c:v>87.579905212158664</c:v>
                </c:pt>
                <c:pt idx="11">
                  <c:v>146.48563643749131</c:v>
                </c:pt>
                <c:pt idx="12">
                  <c:v>210.4482826918105</c:v>
                </c:pt>
                <c:pt idx="13">
                  <c:v>280.75039488826508</c:v>
                </c:pt>
                <c:pt idx="14">
                  <c:v>361.09304851908428</c:v>
                </c:pt>
                <c:pt idx="15">
                  <c:v>446.89570460873676</c:v>
                </c:pt>
                <c:pt idx="16">
                  <c:v>657.98526275712175</c:v>
                </c:pt>
                <c:pt idx="17">
                  <c:v>1013.3984429465471</c:v>
                </c:pt>
                <c:pt idx="18">
                  <c:v>1392.5204928733226</c:v>
                </c:pt>
                <c:pt idx="19">
                  <c:v>1732.6713171962779</c:v>
                </c:pt>
                <c:pt idx="20">
                  <c:v>2083.7604685928013</c:v>
                </c:pt>
                <c:pt idx="21">
                  <c:v>2318.320708451809</c:v>
                </c:pt>
                <c:pt idx="22">
                  <c:v>2299.7420423670542</c:v>
                </c:pt>
                <c:pt idx="23">
                  <c:v>1948.1398706052707</c:v>
                </c:pt>
                <c:pt idx="24">
                  <c:v>1394.1878090604162</c:v>
                </c:pt>
                <c:pt idx="25">
                  <c:v>936.59196540483822</c:v>
                </c:pt>
                <c:pt idx="26">
                  <c:v>731.32885283332905</c:v>
                </c:pt>
                <c:pt idx="27">
                  <c:v>704.90830402246445</c:v>
                </c:pt>
                <c:pt idx="28">
                  <c:v>668.04412634738844</c:v>
                </c:pt>
                <c:pt idx="29">
                  <c:v>1136.6332635442416</c:v>
                </c:pt>
                <c:pt idx="30">
                  <c:v>2598.4481500394018</c:v>
                </c:pt>
                <c:pt idx="31">
                  <c:v>4230.3109654621858</c:v>
                </c:pt>
                <c:pt idx="32">
                  <c:v>4956.6745140460398</c:v>
                </c:pt>
                <c:pt idx="33">
                  <c:v>4778.1067826239268</c:v>
                </c:pt>
                <c:pt idx="34">
                  <c:v>3950.89808795477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6</c:f>
              <c:numCache>
                <c:formatCode>General</c:formatCode>
                <c:ptCount val="35"/>
                <c:pt idx="0">
                  <c:v>229.02601576156346</c:v>
                </c:pt>
                <c:pt idx="1">
                  <c:v>451.08220729157273</c:v>
                </c:pt>
                <c:pt idx="2">
                  <c:v>656.54941432138105</c:v>
                </c:pt>
                <c:pt idx="3">
                  <c:v>762.72145037246412</c:v>
                </c:pt>
                <c:pt idx="4">
                  <c:v>722.63070026092373</c:v>
                </c:pt>
                <c:pt idx="5">
                  <c:v>582.58983963995729</c:v>
                </c:pt>
                <c:pt idx="6">
                  <c:v>441.62572555151928</c:v>
                </c:pt>
                <c:pt idx="7">
                  <c:v>334.76917205544578</c:v>
                </c:pt>
                <c:pt idx="8">
                  <c:v>253.13835403216902</c:v>
                </c:pt>
                <c:pt idx="9">
                  <c:v>180.89641108771215</c:v>
                </c:pt>
                <c:pt idx="10">
                  <c:v>120.57436760200906</c:v>
                </c:pt>
                <c:pt idx="11">
                  <c:v>86.200605781037154</c:v>
                </c:pt>
                <c:pt idx="12">
                  <c:v>67.760888929565567</c:v>
                </c:pt>
                <c:pt idx="13">
                  <c:v>55.807186140195</c:v>
                </c:pt>
                <c:pt idx="14">
                  <c:v>47.225365579851562</c:v>
                </c:pt>
                <c:pt idx="15">
                  <c:v>43.992922089618801</c:v>
                </c:pt>
                <c:pt idx="16">
                  <c:v>48.176084253449432</c:v>
                </c:pt>
                <c:pt idx="17">
                  <c:v>53.964904621578683</c:v>
                </c:pt>
                <c:pt idx="18">
                  <c:v>61.722768998137305</c:v>
                </c:pt>
                <c:pt idx="19">
                  <c:v>87.109070291364006</c:v>
                </c:pt>
                <c:pt idx="20">
                  <c:v>138.89154737999468</c:v>
                </c:pt>
                <c:pt idx="21">
                  <c:v>209.94614833653597</c:v>
                </c:pt>
                <c:pt idx="22">
                  <c:v>312.84348673411529</c:v>
                </c:pt>
                <c:pt idx="23">
                  <c:v>429.50089340090113</c:v>
                </c:pt>
                <c:pt idx="24">
                  <c:v>721.22786204032593</c:v>
                </c:pt>
                <c:pt idx="25">
                  <c:v>1504.3665241053452</c:v>
                </c:pt>
                <c:pt idx="26">
                  <c:v>2669.0602805076433</c:v>
                </c:pt>
                <c:pt idx="27">
                  <c:v>3501.036304481303</c:v>
                </c:pt>
                <c:pt idx="28">
                  <c:v>3845.0168841298309</c:v>
                </c:pt>
                <c:pt idx="29">
                  <c:v>3752.2626576254588</c:v>
                </c:pt>
                <c:pt idx="30">
                  <c:v>3069.9001749618137</c:v>
                </c:pt>
                <c:pt idx="31">
                  <c:v>2105.6517182845637</c:v>
                </c:pt>
                <c:pt idx="32">
                  <c:v>1307.3776149358664</c:v>
                </c:pt>
                <c:pt idx="33">
                  <c:v>834.17535317191653</c:v>
                </c:pt>
                <c:pt idx="34">
                  <c:v>546.35055651057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7C73-43E6-B540-622F64279A4E}"/>
              </c:ext>
            </c:extLst>
          </c:dPt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H$2:$H$36</c:f>
              <c:numCache>
                <c:formatCode>General</c:formatCode>
                <c:ptCount val="35"/>
                <c:pt idx="0">
                  <c:v>460.01708819190543</c:v>
                </c:pt>
                <c:pt idx="1">
                  <c:v>623.85226958214719</c:v>
                </c:pt>
                <c:pt idx="2">
                  <c:v>843.11806504811796</c:v>
                </c:pt>
                <c:pt idx="3">
                  <c:v>831.69135970785021</c:v>
                </c:pt>
                <c:pt idx="4">
                  <c:v>604.66768791468178</c:v>
                </c:pt>
                <c:pt idx="5">
                  <c:v>561.1750937553312</c:v>
                </c:pt>
                <c:pt idx="6">
                  <c:v>595.86808160339672</c:v>
                </c:pt>
                <c:pt idx="7">
                  <c:v>656.86585352074542</c:v>
                </c:pt>
                <c:pt idx="8">
                  <c:v>705.04402866635212</c:v>
                </c:pt>
                <c:pt idx="9">
                  <c:v>746.70000437702913</c:v>
                </c:pt>
                <c:pt idx="10">
                  <c:v>730.59653381905866</c:v>
                </c:pt>
                <c:pt idx="11">
                  <c:v>650.4597283717718</c:v>
                </c:pt>
                <c:pt idx="12">
                  <c:v>672.42274642839061</c:v>
                </c:pt>
                <c:pt idx="13">
                  <c:v>701.53094489772923</c:v>
                </c:pt>
                <c:pt idx="14">
                  <c:v>731.09315544757999</c:v>
                </c:pt>
                <c:pt idx="15">
                  <c:v>855.8671356714309</c:v>
                </c:pt>
                <c:pt idx="16">
                  <c:v>934.44648867424257</c:v>
                </c:pt>
                <c:pt idx="17">
                  <c:v>882.43786209208213</c:v>
                </c:pt>
                <c:pt idx="18">
                  <c:v>768.57192615859367</c:v>
                </c:pt>
                <c:pt idx="19">
                  <c:v>759.59747377099484</c:v>
                </c:pt>
                <c:pt idx="20">
                  <c:v>845.40281839826798</c:v>
                </c:pt>
                <c:pt idx="21">
                  <c:v>882.04556039144541</c:v>
                </c:pt>
                <c:pt idx="22">
                  <c:v>944.94019184258423</c:v>
                </c:pt>
                <c:pt idx="23">
                  <c:v>1067.9480797661904</c:v>
                </c:pt>
                <c:pt idx="24">
                  <c:v>1563.7469032225351</c:v>
                </c:pt>
                <c:pt idx="25">
                  <c:v>2355.1325691031734</c:v>
                </c:pt>
                <c:pt idx="28">
                  <c:v>2756.9832163782053</c:v>
                </c:pt>
                <c:pt idx="29">
                  <c:v>2055.0849477907409</c:v>
                </c:pt>
                <c:pt idx="30">
                  <c:v>2008.6390711659235</c:v>
                </c:pt>
                <c:pt idx="31">
                  <c:v>1594.0452304466144</c:v>
                </c:pt>
                <c:pt idx="32">
                  <c:v>1429.553274299127</c:v>
                </c:pt>
                <c:pt idx="33">
                  <c:v>1179.0017855310698</c:v>
                </c:pt>
                <c:pt idx="34">
                  <c:v>791.46794638713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I$2:$I$36</c:f>
              <c:numCache>
                <c:formatCode>General</c:formatCode>
                <c:ptCount val="35"/>
                <c:pt idx="0">
                  <c:v>35.322379634869002</c:v>
                </c:pt>
                <c:pt idx="1">
                  <c:v>65.203203488150081</c:v>
                </c:pt>
                <c:pt idx="2">
                  <c:v>82.803642284099553</c:v>
                </c:pt>
                <c:pt idx="3">
                  <c:v>90.154515883788505</c:v>
                </c:pt>
                <c:pt idx="4">
                  <c:v>97.921967916517687</c:v>
                </c:pt>
                <c:pt idx="5">
                  <c:v>106.24485785996715</c:v>
                </c:pt>
                <c:pt idx="6">
                  <c:v>115.87823412402236</c:v>
                </c:pt>
                <c:pt idx="7">
                  <c:v>120.03533973706958</c:v>
                </c:pt>
                <c:pt idx="8">
                  <c:v>122.5087741832459</c:v>
                </c:pt>
                <c:pt idx="9">
                  <c:v>119.42782952221926</c:v>
                </c:pt>
                <c:pt idx="10">
                  <c:v>119.41915080486424</c:v>
                </c:pt>
                <c:pt idx="11">
                  <c:v>125.6244337136926</c:v>
                </c:pt>
                <c:pt idx="12">
                  <c:v>118.43845574374872</c:v>
                </c:pt>
                <c:pt idx="13">
                  <c:v>115.56580029924218</c:v>
                </c:pt>
                <c:pt idx="14">
                  <c:v>129.50382037137967</c:v>
                </c:pt>
                <c:pt idx="15">
                  <c:v>198.4909446263118</c:v>
                </c:pt>
                <c:pt idx="16">
                  <c:v>347.14869420018675</c:v>
                </c:pt>
                <c:pt idx="17">
                  <c:v>475.79332155342098</c:v>
                </c:pt>
                <c:pt idx="18">
                  <c:v>501.88154592256501</c:v>
                </c:pt>
                <c:pt idx="19">
                  <c:v>639.53468189029411</c:v>
                </c:pt>
                <c:pt idx="20">
                  <c:v>980.94674391882279</c:v>
                </c:pt>
                <c:pt idx="21">
                  <c:v>1091.5569966083572</c:v>
                </c:pt>
                <c:pt idx="22">
                  <c:v>1018.1524052197277</c:v>
                </c:pt>
                <c:pt idx="23">
                  <c:v>771.30364749133003</c:v>
                </c:pt>
                <c:pt idx="24">
                  <c:v>495.67626301373667</c:v>
                </c:pt>
                <c:pt idx="25">
                  <c:v>391.83540986110586</c:v>
                </c:pt>
                <c:pt idx="26">
                  <c:v>675.69889710859854</c:v>
                </c:pt>
                <c:pt idx="27">
                  <c:v>1351.7189067593322</c:v>
                </c:pt>
                <c:pt idx="28">
                  <c:v>1724.5826404823979</c:v>
                </c:pt>
                <c:pt idx="29">
                  <c:v>3051.0464797386667</c:v>
                </c:pt>
                <c:pt idx="30">
                  <c:v>2764.6314495888023</c:v>
                </c:pt>
                <c:pt idx="31">
                  <c:v>1610.7178687847365</c:v>
                </c:pt>
                <c:pt idx="32">
                  <c:v>881.15017305362403</c:v>
                </c:pt>
                <c:pt idx="33">
                  <c:v>546.88937412561927</c:v>
                </c:pt>
                <c:pt idx="34">
                  <c:v>263.616039658266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C$2:$C$36</c:f>
              <c:numCache>
                <c:formatCode>General</c:formatCode>
                <c:ptCount val="35"/>
                <c:pt idx="0">
                  <c:v>9.5100598572705533</c:v>
                </c:pt>
                <c:pt idx="1">
                  <c:v>12.736186357524575</c:v>
                </c:pt>
                <c:pt idx="2">
                  <c:v>15.064608092490522</c:v>
                </c:pt>
                <c:pt idx="3">
                  <c:v>12.652026535778818</c:v>
                </c:pt>
                <c:pt idx="4">
                  <c:v>11.13714974435519</c:v>
                </c:pt>
                <c:pt idx="5">
                  <c:v>11.249362840016198</c:v>
                </c:pt>
                <c:pt idx="6">
                  <c:v>11.997450144422929</c:v>
                </c:pt>
                <c:pt idx="7">
                  <c:v>12.175120879219527</c:v>
                </c:pt>
                <c:pt idx="8">
                  <c:v>12.343440522711042</c:v>
                </c:pt>
                <c:pt idx="9">
                  <c:v>16.429867423032803</c:v>
                </c:pt>
                <c:pt idx="10">
                  <c:v>24.38764612365939</c:v>
                </c:pt>
                <c:pt idx="11">
                  <c:v>28.707850306608258</c:v>
                </c:pt>
                <c:pt idx="12">
                  <c:v>30.587419658930166</c:v>
                </c:pt>
                <c:pt idx="13">
                  <c:v>42.126666329403974</c:v>
                </c:pt>
                <c:pt idx="14">
                  <c:v>56.031739100064065</c:v>
                </c:pt>
                <c:pt idx="15">
                  <c:v>90.013604902739772</c:v>
                </c:pt>
                <c:pt idx="16">
                  <c:v>201.44120889412218</c:v>
                </c:pt>
                <c:pt idx="17">
                  <c:v>321.77105180794467</c:v>
                </c:pt>
                <c:pt idx="18">
                  <c:v>500.72288611333954</c:v>
                </c:pt>
                <c:pt idx="19">
                  <c:v>720.38002086976564</c:v>
                </c:pt>
                <c:pt idx="20">
                  <c:v>1005.0739956530517</c:v>
                </c:pt>
                <c:pt idx="21">
                  <c:v>1202.849576755581</c:v>
                </c:pt>
                <c:pt idx="22">
                  <c:v>1069.9986225842508</c:v>
                </c:pt>
                <c:pt idx="23">
                  <c:v>852.90368684541772</c:v>
                </c:pt>
                <c:pt idx="24">
                  <c:v>639.82972036777096</c:v>
                </c:pt>
                <c:pt idx="25">
                  <c:v>380.15926591688992</c:v>
                </c:pt>
                <c:pt idx="26">
                  <c:v>335.51715602641832</c:v>
                </c:pt>
                <c:pt idx="27">
                  <c:v>439.19270532588604</c:v>
                </c:pt>
                <c:pt idx="28">
                  <c:v>679.51575186654804</c:v>
                </c:pt>
                <c:pt idx="29">
                  <c:v>1492.9297801305954</c:v>
                </c:pt>
                <c:pt idx="30">
                  <c:v>2328.8612362572853</c:v>
                </c:pt>
                <c:pt idx="31">
                  <c:v>2147.066670195145</c:v>
                </c:pt>
                <c:pt idx="32">
                  <c:v>1490.4704431173584</c:v>
                </c:pt>
                <c:pt idx="33">
                  <c:v>996.19045891322173</c:v>
                </c:pt>
                <c:pt idx="34">
                  <c:v>625.90594541450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D$2:$D$36</c:f>
              <c:numCache>
                <c:formatCode>General</c:formatCode>
                <c:ptCount val="35"/>
                <c:pt idx="0">
                  <c:v>23.156491357662905</c:v>
                </c:pt>
                <c:pt idx="1">
                  <c:v>37.881637218751642</c:v>
                </c:pt>
                <c:pt idx="2">
                  <c:v>75.204749788681596</c:v>
                </c:pt>
                <c:pt idx="3">
                  <c:v>181.43435546909117</c:v>
                </c:pt>
                <c:pt idx="4">
                  <c:v>226.51293929300525</c:v>
                </c:pt>
                <c:pt idx="5">
                  <c:v>234.70215841256362</c:v>
                </c:pt>
                <c:pt idx="6">
                  <c:v>246.3687876461953</c:v>
                </c:pt>
                <c:pt idx="7">
                  <c:v>221.9437323255172</c:v>
                </c:pt>
                <c:pt idx="8">
                  <c:v>185.58615438785876</c:v>
                </c:pt>
                <c:pt idx="9">
                  <c:v>141.55777515627699</c:v>
                </c:pt>
                <c:pt idx="10">
                  <c:v>104.76496391514847</c:v>
                </c:pt>
                <c:pt idx="11">
                  <c:v>75.831604580710206</c:v>
                </c:pt>
                <c:pt idx="12">
                  <c:v>58.890185379084343</c:v>
                </c:pt>
                <c:pt idx="13">
                  <c:v>49.687897614588763</c:v>
                </c:pt>
                <c:pt idx="14">
                  <c:v>43.355475864783322</c:v>
                </c:pt>
                <c:pt idx="15">
                  <c:v>48.607984264340445</c:v>
                </c:pt>
                <c:pt idx="16">
                  <c:v>53.426744798323284</c:v>
                </c:pt>
                <c:pt idx="17">
                  <c:v>59.011991286540137</c:v>
                </c:pt>
                <c:pt idx="18">
                  <c:v>73.218719321993859</c:v>
                </c:pt>
                <c:pt idx="19">
                  <c:v>100.66366988483814</c:v>
                </c:pt>
                <c:pt idx="20">
                  <c:v>181.05408336776577</c:v>
                </c:pt>
                <c:pt idx="21">
                  <c:v>293.45122719154676</c:v>
                </c:pt>
                <c:pt idx="22">
                  <c:v>432.75410762199573</c:v>
                </c:pt>
                <c:pt idx="23">
                  <c:v>505.67722480272494</c:v>
                </c:pt>
                <c:pt idx="24">
                  <c:v>541.42428776520865</c:v>
                </c:pt>
                <c:pt idx="25">
                  <c:v>774.87422203161088</c:v>
                </c:pt>
                <c:pt idx="26">
                  <c:v>1701.8825370376112</c:v>
                </c:pt>
                <c:pt idx="27">
                  <c:v>2592.5020799101417</c:v>
                </c:pt>
                <c:pt idx="28">
                  <c:v>3004.6041444667972</c:v>
                </c:pt>
                <c:pt idx="29">
                  <c:v>3687.1405760195426</c:v>
                </c:pt>
                <c:pt idx="30">
                  <c:v>3567.05777652288</c:v>
                </c:pt>
                <c:pt idx="31">
                  <c:v>2631.1606011483977</c:v>
                </c:pt>
                <c:pt idx="32">
                  <c:v>1490.6681226334747</c:v>
                </c:pt>
                <c:pt idx="33">
                  <c:v>886.23750107991327</c:v>
                </c:pt>
                <c:pt idx="34">
                  <c:v>611.61271377976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F$2:$F$36</c:f>
              <c:numCache>
                <c:formatCode>General</c:formatCode>
                <c:ptCount val="35"/>
                <c:pt idx="0">
                  <c:v>9.4497977649383937</c:v>
                </c:pt>
                <c:pt idx="1">
                  <c:v>14.791716799554029</c:v>
                </c:pt>
                <c:pt idx="2">
                  <c:v>31.632342908681288</c:v>
                </c:pt>
                <c:pt idx="3">
                  <c:v>52.500366858720895</c:v>
                </c:pt>
                <c:pt idx="4">
                  <c:v>64.416568547048996</c:v>
                </c:pt>
                <c:pt idx="5">
                  <c:v>71.39157896261743</c:v>
                </c:pt>
                <c:pt idx="6">
                  <c:v>72.404296821031693</c:v>
                </c:pt>
                <c:pt idx="7">
                  <c:v>76.064500604009069</c:v>
                </c:pt>
                <c:pt idx="8">
                  <c:v>77.275067315557251</c:v>
                </c:pt>
                <c:pt idx="9">
                  <c:v>67.109324971905465</c:v>
                </c:pt>
                <c:pt idx="10">
                  <c:v>55.404385618279683</c:v>
                </c:pt>
                <c:pt idx="11">
                  <c:v>48.489735869769042</c:v>
                </c:pt>
                <c:pt idx="12">
                  <c:v>39.713965553642794</c:v>
                </c:pt>
                <c:pt idx="13">
                  <c:v>35.077930986564255</c:v>
                </c:pt>
                <c:pt idx="14">
                  <c:v>30.274227899880703</c:v>
                </c:pt>
                <c:pt idx="15">
                  <c:v>30.039491972433684</c:v>
                </c:pt>
                <c:pt idx="16">
                  <c:v>42.70014188780803</c:v>
                </c:pt>
                <c:pt idx="17">
                  <c:v>53.989263312813392</c:v>
                </c:pt>
                <c:pt idx="18">
                  <c:v>65.36557236801336</c:v>
                </c:pt>
                <c:pt idx="19">
                  <c:v>90.452136271315027</c:v>
                </c:pt>
                <c:pt idx="20">
                  <c:v>115.92769114010034</c:v>
                </c:pt>
                <c:pt idx="21">
                  <c:v>144.56882765902822</c:v>
                </c:pt>
                <c:pt idx="22">
                  <c:v>175.41983526635016</c:v>
                </c:pt>
                <c:pt idx="23">
                  <c:v>206.66486389474386</c:v>
                </c:pt>
                <c:pt idx="24">
                  <c:v>290.15875660245098</c:v>
                </c:pt>
                <c:pt idx="25">
                  <c:v>495.09831143045926</c:v>
                </c:pt>
                <c:pt idx="26">
                  <c:v>1366.3911269282885</c:v>
                </c:pt>
                <c:pt idx="27">
                  <c:v>2013.4608311583372</c:v>
                </c:pt>
                <c:pt idx="28">
                  <c:v>2003.1944877029227</c:v>
                </c:pt>
                <c:pt idx="29">
                  <c:v>1914.3150821455024</c:v>
                </c:pt>
                <c:pt idx="30">
                  <c:v>1514.4776401286299</c:v>
                </c:pt>
                <c:pt idx="31">
                  <c:v>1072.2720398927672</c:v>
                </c:pt>
                <c:pt idx="32">
                  <c:v>742.12434136452123</c:v>
                </c:pt>
                <c:pt idx="33">
                  <c:v>567.74740429011433</c:v>
                </c:pt>
                <c:pt idx="34">
                  <c:v>326.321502910859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K$2:$K$36</c:f>
              <c:numCache>
                <c:formatCode>General</c:formatCode>
                <c:ptCount val="35"/>
                <c:pt idx="0">
                  <c:v>2.2519004504415054</c:v>
                </c:pt>
                <c:pt idx="1">
                  <c:v>2.8353473853286228</c:v>
                </c:pt>
                <c:pt idx="2">
                  <c:v>3.3266711199704058</c:v>
                </c:pt>
                <c:pt idx="3">
                  <c:v>4.0738926330714511</c:v>
                </c:pt>
                <c:pt idx="4">
                  <c:v>3.9305898771342638</c:v>
                </c:pt>
                <c:pt idx="5">
                  <c:v>3.7361075655052254</c:v>
                </c:pt>
                <c:pt idx="6">
                  <c:v>5.0463041912166471</c:v>
                </c:pt>
                <c:pt idx="7">
                  <c:v>6.3155571723745858</c:v>
                </c:pt>
                <c:pt idx="8">
                  <c:v>11.32091771903775</c:v>
                </c:pt>
                <c:pt idx="9">
                  <c:v>14.954666173159271</c:v>
                </c:pt>
                <c:pt idx="10">
                  <c:v>19.622241652256211</c:v>
                </c:pt>
                <c:pt idx="11">
                  <c:v>26.87950264936088</c:v>
                </c:pt>
                <c:pt idx="12">
                  <c:v>31.004574838124185</c:v>
                </c:pt>
                <c:pt idx="13">
                  <c:v>37.013054676347657</c:v>
                </c:pt>
                <c:pt idx="14">
                  <c:v>46.89070892487517</c:v>
                </c:pt>
                <c:pt idx="15">
                  <c:v>70.955336011184158</c:v>
                </c:pt>
                <c:pt idx="16">
                  <c:v>144.56177300720628</c:v>
                </c:pt>
                <c:pt idx="17">
                  <c:v>246.85946892408086</c:v>
                </c:pt>
                <c:pt idx="18">
                  <c:v>362.02370514188715</c:v>
                </c:pt>
                <c:pt idx="19">
                  <c:v>520.46537365272377</c:v>
                </c:pt>
                <c:pt idx="20">
                  <c:v>663.8295450567407</c:v>
                </c:pt>
                <c:pt idx="21">
                  <c:v>726.96464495820987</c:v>
                </c:pt>
                <c:pt idx="22">
                  <c:v>622.84495685870525</c:v>
                </c:pt>
                <c:pt idx="23">
                  <c:v>423.4698797055251</c:v>
                </c:pt>
                <c:pt idx="24">
                  <c:v>301.5601780475327</c:v>
                </c:pt>
                <c:pt idx="25">
                  <c:v>173.18138055009015</c:v>
                </c:pt>
                <c:pt idx="26">
                  <c:v>173.60105290676333</c:v>
                </c:pt>
                <c:pt idx="27">
                  <c:v>361.64497642976738</c:v>
                </c:pt>
                <c:pt idx="28">
                  <c:v>518.12135000203693</c:v>
                </c:pt>
                <c:pt idx="29">
                  <c:v>953.51606618376354</c:v>
                </c:pt>
                <c:pt idx="30">
                  <c:v>1146.6165298091228</c:v>
                </c:pt>
                <c:pt idx="31">
                  <c:v>994.52112620407581</c:v>
                </c:pt>
                <c:pt idx="32">
                  <c:v>680.81092163529729</c:v>
                </c:pt>
                <c:pt idx="33">
                  <c:v>436.18288133938125</c:v>
                </c:pt>
                <c:pt idx="34">
                  <c:v>285.1622484038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E$2:$E$36</c:f>
              <c:numCache>
                <c:formatCode>General</c:formatCode>
                <c:ptCount val="35"/>
                <c:pt idx="0">
                  <c:v>5.2533038128681078</c:v>
                </c:pt>
                <c:pt idx="1">
                  <c:v>6.7106176652819656</c:v>
                </c:pt>
                <c:pt idx="2">
                  <c:v>10.944282743127836</c:v>
                </c:pt>
                <c:pt idx="3">
                  <c:v>15.183959841817</c:v>
                </c:pt>
                <c:pt idx="4">
                  <c:v>18.643276635046924</c:v>
                </c:pt>
                <c:pt idx="5">
                  <c:v>24.548283507327831</c:v>
                </c:pt>
                <c:pt idx="6">
                  <c:v>38.558696880534328</c:v>
                </c:pt>
                <c:pt idx="7">
                  <c:v>59.683735719691988</c:v>
                </c:pt>
                <c:pt idx="8">
                  <c:v>79.791540632164711</c:v>
                </c:pt>
                <c:pt idx="9">
                  <c:v>89.820793802943584</c:v>
                </c:pt>
                <c:pt idx="10">
                  <c:v>86.188330809426873</c:v>
                </c:pt>
                <c:pt idx="11">
                  <c:v>73.897355397401739</c:v>
                </c:pt>
                <c:pt idx="12">
                  <c:v>64.465697098446029</c:v>
                </c:pt>
                <c:pt idx="13">
                  <c:v>67.916597062495356</c:v>
                </c:pt>
                <c:pt idx="14">
                  <c:v>69.747858611361934</c:v>
                </c:pt>
                <c:pt idx="15">
                  <c:v>78.580719634325803</c:v>
                </c:pt>
                <c:pt idx="16">
                  <c:v>117.50735219046956</c:v>
                </c:pt>
                <c:pt idx="17">
                  <c:v>164.77746727293328</c:v>
                </c:pt>
                <c:pt idx="18">
                  <c:v>213.8980823709621</c:v>
                </c:pt>
                <c:pt idx="19">
                  <c:v>326.30603848215185</c:v>
                </c:pt>
                <c:pt idx="20">
                  <c:v>422.94807113389396</c:v>
                </c:pt>
                <c:pt idx="21">
                  <c:v>485.09192578266078</c:v>
                </c:pt>
                <c:pt idx="22">
                  <c:v>466.98371900266687</c:v>
                </c:pt>
                <c:pt idx="23">
                  <c:v>406.67232830693524</c:v>
                </c:pt>
                <c:pt idx="24">
                  <c:v>328.98980458659713</c:v>
                </c:pt>
                <c:pt idx="25">
                  <c:v>233.20749091544573</c:v>
                </c:pt>
                <c:pt idx="26">
                  <c:v>250.88523700306001</c:v>
                </c:pt>
                <c:pt idx="27">
                  <c:v>406.39938256064971</c:v>
                </c:pt>
                <c:pt idx="28">
                  <c:v>584.20850621350166</c:v>
                </c:pt>
                <c:pt idx="29">
                  <c:v>956.03997132939401</c:v>
                </c:pt>
                <c:pt idx="30">
                  <c:v>1324.6886726108478</c:v>
                </c:pt>
                <c:pt idx="31">
                  <c:v>1533.5919680652034</c:v>
                </c:pt>
                <c:pt idx="32">
                  <c:v>1561.1787269067306</c:v>
                </c:pt>
                <c:pt idx="33">
                  <c:v>1390.100661790028</c:v>
                </c:pt>
                <c:pt idx="34">
                  <c:v>1280.68909686713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G$2:$G$36</c:f>
              <c:numCache>
                <c:formatCode>General</c:formatCode>
                <c:ptCount val="35"/>
                <c:pt idx="0">
                  <c:v>33.393489102595218</c:v>
                </c:pt>
                <c:pt idx="1">
                  <c:v>224.6549420841547</c:v>
                </c:pt>
                <c:pt idx="2">
                  <c:v>402.73823163867939</c:v>
                </c:pt>
                <c:pt idx="3">
                  <c:v>258.36438541015309</c:v>
                </c:pt>
                <c:pt idx="4">
                  <c:v>140.14580425716721</c:v>
                </c:pt>
                <c:pt idx="5">
                  <c:v>103.60426216502749</c:v>
                </c:pt>
                <c:pt idx="6">
                  <c:v>92.557353590403252</c:v>
                </c:pt>
                <c:pt idx="7">
                  <c:v>97.187519118820902</c:v>
                </c:pt>
                <c:pt idx="8">
                  <c:v>102.42661460507016</c:v>
                </c:pt>
                <c:pt idx="9">
                  <c:v>101.43853957915471</c:v>
                </c:pt>
                <c:pt idx="10">
                  <c:v>96.027105425594641</c:v>
                </c:pt>
                <c:pt idx="11">
                  <c:v>80.545348478838392</c:v>
                </c:pt>
                <c:pt idx="12">
                  <c:v>66.706553493778728</c:v>
                </c:pt>
                <c:pt idx="13">
                  <c:v>66.310174558963809</c:v>
                </c:pt>
                <c:pt idx="14">
                  <c:v>92.677990657520837</c:v>
                </c:pt>
                <c:pt idx="15">
                  <c:v>135.17096139412791</c:v>
                </c:pt>
                <c:pt idx="16">
                  <c:v>200.08519274787398</c:v>
                </c:pt>
                <c:pt idx="17">
                  <c:v>284.12327155087854</c:v>
                </c:pt>
                <c:pt idx="18">
                  <c:v>395.89638654643937</c:v>
                </c:pt>
                <c:pt idx="19">
                  <c:v>538.63876005775649</c:v>
                </c:pt>
                <c:pt idx="20">
                  <c:v>844.25840804453924</c:v>
                </c:pt>
                <c:pt idx="21">
                  <c:v>902.64674852944847</c:v>
                </c:pt>
                <c:pt idx="22">
                  <c:v>874.15916682296836</c:v>
                </c:pt>
                <c:pt idx="23">
                  <c:v>738.1782136924794</c:v>
                </c:pt>
                <c:pt idx="24">
                  <c:v>572.64692374042693</c:v>
                </c:pt>
                <c:pt idx="25">
                  <c:v>489.21203027301027</c:v>
                </c:pt>
                <c:pt idx="26">
                  <c:v>578.52367229572621</c:v>
                </c:pt>
                <c:pt idx="27">
                  <c:v>1015.7181481520844</c:v>
                </c:pt>
                <c:pt idx="28">
                  <c:v>1288.2085596594818</c:v>
                </c:pt>
                <c:pt idx="29">
                  <c:v>1827.416037319364</c:v>
                </c:pt>
                <c:pt idx="30">
                  <c:v>2447.3239682586645</c:v>
                </c:pt>
                <c:pt idx="31">
                  <c:v>3260.2684404528259</c:v>
                </c:pt>
                <c:pt idx="32">
                  <c:v>4921.0961773272975</c:v>
                </c:pt>
                <c:pt idx="33">
                  <c:v>1996.6640978630869</c:v>
                </c:pt>
                <c:pt idx="34">
                  <c:v>1441.6416751663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J$2:$J$36</c:f>
              <c:numCache>
                <c:formatCode>General</c:formatCode>
                <c:ptCount val="35"/>
                <c:pt idx="0">
                  <c:v>1.630743847340457</c:v>
                </c:pt>
                <c:pt idx="1">
                  <c:v>1.4753094580139838</c:v>
                </c:pt>
                <c:pt idx="2">
                  <c:v>1.6570886590907066</c:v>
                </c:pt>
                <c:pt idx="3">
                  <c:v>1.9442471071684286</c:v>
                </c:pt>
                <c:pt idx="4">
                  <c:v>2.3604951328223742</c:v>
                </c:pt>
                <c:pt idx="5">
                  <c:v>2.7451293843760198</c:v>
                </c:pt>
                <c:pt idx="6">
                  <c:v>3.4274600087074871</c:v>
                </c:pt>
                <c:pt idx="7">
                  <c:v>3.5565495862837109</c:v>
                </c:pt>
                <c:pt idx="8">
                  <c:v>4.2467836541402537</c:v>
                </c:pt>
                <c:pt idx="9">
                  <c:v>6.014520522582008</c:v>
                </c:pt>
                <c:pt idx="10">
                  <c:v>8.5646983000061798</c:v>
                </c:pt>
                <c:pt idx="11">
                  <c:v>11.539027546609372</c:v>
                </c:pt>
                <c:pt idx="12">
                  <c:v>14.115550135783794</c:v>
                </c:pt>
                <c:pt idx="13">
                  <c:v>20.801863357997171</c:v>
                </c:pt>
                <c:pt idx="14">
                  <c:v>30.970960693593558</c:v>
                </c:pt>
                <c:pt idx="15">
                  <c:v>46.946454538944984</c:v>
                </c:pt>
                <c:pt idx="16">
                  <c:v>91.564027719167896</c:v>
                </c:pt>
                <c:pt idx="17">
                  <c:v>142.98646577448031</c:v>
                </c:pt>
                <c:pt idx="18">
                  <c:v>214.39934698588218</c:v>
                </c:pt>
                <c:pt idx="19">
                  <c:v>269.99743770360914</c:v>
                </c:pt>
                <c:pt idx="20">
                  <c:v>378.62763447458883</c:v>
                </c:pt>
                <c:pt idx="21">
                  <c:v>430.01845875580096</c:v>
                </c:pt>
                <c:pt idx="22">
                  <c:v>431.23558905866247</c:v>
                </c:pt>
                <c:pt idx="23">
                  <c:v>408.2049546265942</c:v>
                </c:pt>
                <c:pt idx="24">
                  <c:v>339.38176841024182</c:v>
                </c:pt>
                <c:pt idx="25">
                  <c:v>227.70611140093331</c:v>
                </c:pt>
                <c:pt idx="26">
                  <c:v>208.07659216582223</c:v>
                </c:pt>
                <c:pt idx="27">
                  <c:v>229.57395855402601</c:v>
                </c:pt>
                <c:pt idx="28">
                  <c:v>270.0422238835846</c:v>
                </c:pt>
                <c:pt idx="29">
                  <c:v>589.70753517993955</c:v>
                </c:pt>
                <c:pt idx="30">
                  <c:v>892.54378073023497</c:v>
                </c:pt>
                <c:pt idx="31">
                  <c:v>884.62189583693487</c:v>
                </c:pt>
                <c:pt idx="32">
                  <c:v>599.29441217585543</c:v>
                </c:pt>
                <c:pt idx="33">
                  <c:v>391.15459246183252</c:v>
                </c:pt>
                <c:pt idx="34">
                  <c:v>273.0508013854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7.1115093656219077</c:v>
                </c:pt>
                <c:pt idx="1">
                  <c:v>12.279430863546201</c:v>
                </c:pt>
                <c:pt idx="2">
                  <c:v>24.637504010756469</c:v>
                </c:pt>
                <c:pt idx="3">
                  <c:v>28.457272074439636</c:v>
                </c:pt>
                <c:pt idx="4">
                  <c:v>36.523723455982342</c:v>
                </c:pt>
                <c:pt idx="5">
                  <c:v>41.19732202801822</c:v>
                </c:pt>
                <c:pt idx="6">
                  <c:v>66.295445128807074</c:v>
                </c:pt>
                <c:pt idx="7">
                  <c:v>90.607145392955275</c:v>
                </c:pt>
                <c:pt idx="8">
                  <c:v>106.00979837916006</c:v>
                </c:pt>
                <c:pt idx="9">
                  <c:v>127.01852272941751</c:v>
                </c:pt>
                <c:pt idx="10">
                  <c:v>157.95864404525122</c:v>
                </c:pt>
                <c:pt idx="11">
                  <c:v>154.46467972817632</c:v>
                </c:pt>
                <c:pt idx="12">
                  <c:v>132.16397500343777</c:v>
                </c:pt>
                <c:pt idx="13">
                  <c:v>141.49993753555756</c:v>
                </c:pt>
                <c:pt idx="14">
                  <c:v>143.62327919448731</c:v>
                </c:pt>
                <c:pt idx="15">
                  <c:v>172.56363958286335</c:v>
                </c:pt>
                <c:pt idx="16">
                  <c:v>268.01290272713464</c:v>
                </c:pt>
                <c:pt idx="17">
                  <c:v>388.4254736287707</c:v>
                </c:pt>
                <c:pt idx="18">
                  <c:v>634.78927912438337</c:v>
                </c:pt>
                <c:pt idx="19">
                  <c:v>885.57952172908756</c:v>
                </c:pt>
                <c:pt idx="20">
                  <c:v>1093.116508318556</c:v>
                </c:pt>
                <c:pt idx="21">
                  <c:v>928.85524696822756</c:v>
                </c:pt>
                <c:pt idx="22">
                  <c:v>571.70693301385097</c:v>
                </c:pt>
                <c:pt idx="23">
                  <c:v>329.34264937315362</c:v>
                </c:pt>
                <c:pt idx="24">
                  <c:v>211.96342369856009</c:v>
                </c:pt>
                <c:pt idx="25">
                  <c:v>164.51965742522466</c:v>
                </c:pt>
                <c:pt idx="26">
                  <c:v>259.85657444997588</c:v>
                </c:pt>
                <c:pt idx="27">
                  <c:v>701.93855476154306</c:v>
                </c:pt>
                <c:pt idx="28">
                  <c:v>1250.4797179303507</c:v>
                </c:pt>
                <c:pt idx="29">
                  <c:v>1983.7965438738559</c:v>
                </c:pt>
                <c:pt idx="30">
                  <c:v>2555.2787846486667</c:v>
                </c:pt>
                <c:pt idx="31">
                  <c:v>2602.9584777729942</c:v>
                </c:pt>
                <c:pt idx="32">
                  <c:v>2431.0239764594435</c:v>
                </c:pt>
                <c:pt idx="33">
                  <c:v>2203.1860460726944</c:v>
                </c:pt>
                <c:pt idx="34">
                  <c:v>2088.4244849829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L$2:$L$36</c:f>
              <c:numCache>
                <c:formatCode>General</c:formatCode>
                <c:ptCount val="35"/>
                <c:pt idx="0">
                  <c:v>4.1957737015866803</c:v>
                </c:pt>
                <c:pt idx="1">
                  <c:v>4.2873844810973063</c:v>
                </c:pt>
                <c:pt idx="2">
                  <c:v>3.9392635189569267</c:v>
                </c:pt>
                <c:pt idx="3">
                  <c:v>5.8264455768758268</c:v>
                </c:pt>
                <c:pt idx="4">
                  <c:v>7.6586611670883515</c:v>
                </c:pt>
                <c:pt idx="5">
                  <c:v>7.7319497906968531</c:v>
                </c:pt>
                <c:pt idx="6">
                  <c:v>10.406984552407136</c:v>
                </c:pt>
                <c:pt idx="7">
                  <c:v>12.40409954573879</c:v>
                </c:pt>
                <c:pt idx="8">
                  <c:v>15.042489995644823</c:v>
                </c:pt>
                <c:pt idx="9">
                  <c:v>31.330886592634162</c:v>
                </c:pt>
                <c:pt idx="10">
                  <c:v>56.249018619524492</c:v>
                </c:pt>
                <c:pt idx="11">
                  <c:v>90.236617817966817</c:v>
                </c:pt>
                <c:pt idx="12">
                  <c:v>120.21166487384372</c:v>
                </c:pt>
                <c:pt idx="13">
                  <c:v>160.53873001442136</c:v>
                </c:pt>
                <c:pt idx="14">
                  <c:v>200.55431850466289</c:v>
                </c:pt>
                <c:pt idx="15">
                  <c:v>246.34138610407391</c:v>
                </c:pt>
                <c:pt idx="16">
                  <c:v>411.64387665304781</c:v>
                </c:pt>
                <c:pt idx="17">
                  <c:v>601.75456629349935</c:v>
                </c:pt>
                <c:pt idx="18">
                  <c:v>790.76592657982337</c:v>
                </c:pt>
                <c:pt idx="19">
                  <c:v>941.9053906164545</c:v>
                </c:pt>
                <c:pt idx="20">
                  <c:v>1141.8550779763473</c:v>
                </c:pt>
                <c:pt idx="21">
                  <c:v>1176.4656304754617</c:v>
                </c:pt>
                <c:pt idx="22">
                  <c:v>1123.2764118915923</c:v>
                </c:pt>
                <c:pt idx="23">
                  <c:v>824.86345871367826</c:v>
                </c:pt>
                <c:pt idx="24">
                  <c:v>569.32435034673756</c:v>
                </c:pt>
                <c:pt idx="25">
                  <c:v>367.26761505810049</c:v>
                </c:pt>
                <c:pt idx="26">
                  <c:v>364.06123777522856</c:v>
                </c:pt>
                <c:pt idx="27">
                  <c:v>340.84706624723589</c:v>
                </c:pt>
                <c:pt idx="28">
                  <c:v>327.19706010015256</c:v>
                </c:pt>
                <c:pt idx="29">
                  <c:v>809.43620344408896</c:v>
                </c:pt>
                <c:pt idx="30">
                  <c:v>1789.011946595313</c:v>
                </c:pt>
                <c:pt idx="31">
                  <c:v>2441.2990188668737</c:v>
                </c:pt>
                <c:pt idx="32">
                  <c:v>2515.3754951791661</c:v>
                </c:pt>
                <c:pt idx="33">
                  <c:v>2262.7312874447607</c:v>
                </c:pt>
                <c:pt idx="34">
                  <c:v>1688.16680051001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6</c:f>
              <c:numCache>
                <c:formatCode>General</c:formatCode>
                <c:ptCount val="35"/>
                <c:pt idx="0">
                  <c:v>166.30604851023017</c:v>
                </c:pt>
                <c:pt idx="1">
                  <c:v>284.77615878134264</c:v>
                </c:pt>
                <c:pt idx="2">
                  <c:v>371.77325554003841</c:v>
                </c:pt>
                <c:pt idx="3">
                  <c:v>390.94819483242571</c:v>
                </c:pt>
                <c:pt idx="4">
                  <c:v>331.68250542849802</c:v>
                </c:pt>
                <c:pt idx="5">
                  <c:v>250.90733421145939</c:v>
                </c:pt>
                <c:pt idx="6">
                  <c:v>190.71839134005995</c:v>
                </c:pt>
                <c:pt idx="7">
                  <c:v>144.0507807153858</c:v>
                </c:pt>
                <c:pt idx="8">
                  <c:v>109.08757331678322</c:v>
                </c:pt>
                <c:pt idx="9">
                  <c:v>71.808837770928932</c:v>
                </c:pt>
                <c:pt idx="10">
                  <c:v>48.765529831080109</c:v>
                </c:pt>
                <c:pt idx="11">
                  <c:v>37.435075949957039</c:v>
                </c:pt>
                <c:pt idx="12">
                  <c:v>30.325812979608521</c:v>
                </c:pt>
                <c:pt idx="13">
                  <c:v>25.481373160586482</c:v>
                </c:pt>
                <c:pt idx="14">
                  <c:v>21.743992419265076</c:v>
                </c:pt>
                <c:pt idx="15">
                  <c:v>22.248929670353721</c:v>
                </c:pt>
                <c:pt idx="16">
                  <c:v>25.92715458309571</c:v>
                </c:pt>
                <c:pt idx="17">
                  <c:v>28.037750038482976</c:v>
                </c:pt>
                <c:pt idx="18">
                  <c:v>33.685018959654329</c:v>
                </c:pt>
                <c:pt idx="19">
                  <c:v>53.424051331709677</c:v>
                </c:pt>
                <c:pt idx="20">
                  <c:v>85.467496048285014</c:v>
                </c:pt>
                <c:pt idx="21">
                  <c:v>124.47865228825097</c:v>
                </c:pt>
                <c:pt idx="22">
                  <c:v>188.36483444586432</c:v>
                </c:pt>
                <c:pt idx="23">
                  <c:v>241.13605895503682</c:v>
                </c:pt>
                <c:pt idx="24">
                  <c:v>480.0918030852892</c:v>
                </c:pt>
                <c:pt idx="25">
                  <c:v>1024.2747210200559</c:v>
                </c:pt>
                <c:pt idx="26">
                  <c:v>1644.7855594875871</c:v>
                </c:pt>
                <c:pt idx="27">
                  <c:v>1856.2507449937164</c:v>
                </c:pt>
                <c:pt idx="28">
                  <c:v>1988.7661391361146</c:v>
                </c:pt>
                <c:pt idx="29">
                  <c:v>1763.4965184893442</c:v>
                </c:pt>
                <c:pt idx="30">
                  <c:v>1306.4036564724695</c:v>
                </c:pt>
                <c:pt idx="31">
                  <c:v>799.24806181209431</c:v>
                </c:pt>
                <c:pt idx="32">
                  <c:v>508.1295531237721</c:v>
                </c:pt>
                <c:pt idx="33">
                  <c:v>326.04580004814437</c:v>
                </c:pt>
                <c:pt idx="34">
                  <c:v>220.304756462425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A50C-414A-BE02-F1C320178424}"/>
              </c:ext>
            </c:extLst>
          </c:dPt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H$2:$H$36</c:f>
              <c:numCache>
                <c:formatCode>General</c:formatCode>
                <c:ptCount val="35"/>
                <c:pt idx="0">
                  <c:v>278.56506264198623</c:v>
                </c:pt>
                <c:pt idx="1">
                  <c:v>345.2872069401609</c:v>
                </c:pt>
                <c:pt idx="2">
                  <c:v>497.83085810795717</c:v>
                </c:pt>
                <c:pt idx="3">
                  <c:v>333.86050159989304</c:v>
                </c:pt>
                <c:pt idx="4">
                  <c:v>270.80718631478879</c:v>
                </c:pt>
                <c:pt idx="5">
                  <c:v>290.36790744054247</c:v>
                </c:pt>
                <c:pt idx="6">
                  <c:v>305.50017416285425</c:v>
                </c:pt>
                <c:pt idx="7">
                  <c:v>351.36567935789117</c:v>
                </c:pt>
                <c:pt idx="8">
                  <c:v>353.67834930846101</c:v>
                </c:pt>
                <c:pt idx="9">
                  <c:v>393.02165506856812</c:v>
                </c:pt>
                <c:pt idx="10">
                  <c:v>337.5748787504906</c:v>
                </c:pt>
                <c:pt idx="11">
                  <c:v>312.88484962128121</c:v>
                </c:pt>
                <c:pt idx="12">
                  <c:v>359.53789680710935</c:v>
                </c:pt>
                <c:pt idx="13">
                  <c:v>341.99304809061988</c:v>
                </c:pt>
                <c:pt idx="14">
                  <c:v>389.10010735696017</c:v>
                </c:pt>
                <c:pt idx="15">
                  <c:v>466.76702831447079</c:v>
                </c:pt>
                <c:pt idx="16">
                  <c:v>467.67946035977184</c:v>
                </c:pt>
                <c:pt idx="17">
                  <c:v>414.75840173231023</c:v>
                </c:pt>
                <c:pt idx="18">
                  <c:v>353.81352442628338</c:v>
                </c:pt>
                <c:pt idx="19">
                  <c:v>405.78394934471146</c:v>
                </c:pt>
                <c:pt idx="20">
                  <c:v>439.61886905355658</c:v>
                </c:pt>
                <c:pt idx="21">
                  <c:v>442.42669133788888</c:v>
                </c:pt>
                <c:pt idx="22">
                  <c:v>502.5135005046954</c:v>
                </c:pt>
                <c:pt idx="23">
                  <c:v>565.43457926149506</c:v>
                </c:pt>
                <c:pt idx="24">
                  <c:v>998.31232396103997</c:v>
                </c:pt>
                <c:pt idx="25">
                  <c:v>1356.8202451421332</c:v>
                </c:pt>
                <c:pt idx="27">
                  <c:v>1745.714651232842</c:v>
                </c:pt>
                <c:pt idx="28">
                  <c:v>1011.2685651453633</c:v>
                </c:pt>
                <c:pt idx="29">
                  <c:v>1043.8163826453779</c:v>
                </c:pt>
                <c:pt idx="30">
                  <c:v>964.82268852054551</c:v>
                </c:pt>
                <c:pt idx="31">
                  <c:v>629.22254192606886</c:v>
                </c:pt>
                <c:pt idx="32">
                  <c:v>800.33073237305814</c:v>
                </c:pt>
                <c:pt idx="33">
                  <c:v>378.67105315801183</c:v>
                </c:pt>
                <c:pt idx="34">
                  <c:v>412.796893229126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6. vs. 5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Lucembursko</c:v>
                </c:pt>
                <c:pt idx="1">
                  <c:v>Irsko</c:v>
                </c:pt>
                <c:pt idx="2">
                  <c:v>Lichtenštejnsko</c:v>
                </c:pt>
                <c:pt idx="3">
                  <c:v>Velká Británie</c:v>
                </c:pt>
                <c:pt idx="4">
                  <c:v>Rakousko</c:v>
                </c:pt>
                <c:pt idx="5">
                  <c:v>Lotyšsko</c:v>
                </c:pt>
                <c:pt idx="6">
                  <c:v>Německo</c:v>
                </c:pt>
                <c:pt idx="7">
                  <c:v>Norsko</c:v>
                </c:pt>
                <c:pt idx="8">
                  <c:v>Řecko</c:v>
                </c:pt>
                <c:pt idx="9">
                  <c:v>Malta</c:v>
                </c:pt>
                <c:pt idx="10">
                  <c:v>Litva</c:v>
                </c:pt>
                <c:pt idx="11">
                  <c:v>Estonsko</c:v>
                </c:pt>
                <c:pt idx="12">
                  <c:v>Švédsko</c:v>
                </c:pt>
                <c:pt idx="13">
                  <c:v>Kypr</c:v>
                </c:pt>
                <c:pt idx="14">
                  <c:v>Island</c:v>
                </c:pt>
                <c:pt idx="15">
                  <c:v>Slovensko</c:v>
                </c:pt>
                <c:pt idx="16">
                  <c:v>Nizozemsko</c:v>
                </c:pt>
                <c:pt idx="17">
                  <c:v>Polsko</c:v>
                </c:pt>
                <c:pt idx="18">
                  <c:v>Portugalsko</c:v>
                </c:pt>
                <c:pt idx="19">
                  <c:v>Francie</c:v>
                </c:pt>
                <c:pt idx="20">
                  <c:v>Bulharsko</c:v>
                </c:pt>
                <c:pt idx="21">
                  <c:v>Dánsko</c:v>
                </c:pt>
                <c:pt idx="22">
                  <c:v>Španělsko</c:v>
                </c:pt>
                <c:pt idx="23">
                  <c:v>Maďarsko</c:v>
                </c:pt>
                <c:pt idx="24">
                  <c:v>Rumunsko</c:v>
                </c:pt>
                <c:pt idx="25">
                  <c:v>Česká republika</c:v>
                </c:pt>
                <c:pt idx="26">
                  <c:v>Finsko</c:v>
                </c:pt>
                <c:pt idx="27">
                  <c:v>Itálie</c:v>
                </c:pt>
                <c:pt idx="28">
                  <c:v>Chorvatsko</c:v>
                </c:pt>
                <c:pt idx="29">
                  <c:v>Belgie</c:v>
                </c:pt>
                <c:pt idx="30">
                  <c:v>Slovin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0.52688741721854304</c:v>
                </c:pt>
                <c:pt idx="1">
                  <c:v>0.92096600036870246</c:v>
                </c:pt>
                <c:pt idx="2">
                  <c:v>0.97365269461077841</c:v>
                </c:pt>
                <c:pt idx="3">
                  <c:v>1.2719358876165212</c:v>
                </c:pt>
                <c:pt idx="4">
                  <c:v>0.93394650633818321</c:v>
                </c:pt>
                <c:pt idx="5">
                  <c:v>1.1210975849204792</c:v>
                </c:pt>
                <c:pt idx="6">
                  <c:v>1.0179883302834007</c:v>
                </c:pt>
                <c:pt idx="7">
                  <c:v>1.130427251232039</c:v>
                </c:pt>
                <c:pt idx="8">
                  <c:v>1.0032669794852906</c:v>
                </c:pt>
                <c:pt idx="9">
                  <c:v>0.58333333333333337</c:v>
                </c:pt>
                <c:pt idx="10">
                  <c:v>0.63757109272667545</c:v>
                </c:pt>
                <c:pt idx="11">
                  <c:v>0.79005225791676215</c:v>
                </c:pt>
                <c:pt idx="12">
                  <c:v>0.33584379508602685</c:v>
                </c:pt>
                <c:pt idx="13">
                  <c:v>0.90947132067768932</c:v>
                </c:pt>
                <c:pt idx="14">
                  <c:v>1.3166587112171837</c:v>
                </c:pt>
                <c:pt idx="15">
                  <c:v>1.030343057421403</c:v>
                </c:pt>
                <c:pt idx="16">
                  <c:v>1.5094144139381958</c:v>
                </c:pt>
                <c:pt idx="17">
                  <c:v>0.67745826210741367</c:v>
                </c:pt>
                <c:pt idx="18">
                  <c:v>0.54859675339297043</c:v>
                </c:pt>
                <c:pt idx="19">
                  <c:v>0.56654395097846044</c:v>
                </c:pt>
                <c:pt idx="20">
                  <c:v>0.77771404252169574</c:v>
                </c:pt>
                <c:pt idx="21">
                  <c:v>1.1201835907955946</c:v>
                </c:pt>
                <c:pt idx="22">
                  <c:v>0.63575950621852739</c:v>
                </c:pt>
                <c:pt idx="23">
                  <c:v>0.68456154796212432</c:v>
                </c:pt>
                <c:pt idx="24">
                  <c:v>0.75335666296300141</c:v>
                </c:pt>
                <c:pt idx="25">
                  <c:v>0.69418917624103904</c:v>
                </c:pt>
                <c:pt idx="26">
                  <c:v>1.0318064923091852</c:v>
                </c:pt>
                <c:pt idx="27">
                  <c:v>0.69210453481444645</c:v>
                </c:pt>
                <c:pt idx="28">
                  <c:v>0.71028756918723213</c:v>
                </c:pt>
                <c:pt idx="29">
                  <c:v>0.5470543228768171</c:v>
                </c:pt>
                <c:pt idx="30">
                  <c:v>0.575928122272696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8. vs. 7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Lucembursko</c:v>
                </c:pt>
                <c:pt idx="1">
                  <c:v>Irsko</c:v>
                </c:pt>
                <c:pt idx="2">
                  <c:v>Lichtenštejnsko</c:v>
                </c:pt>
                <c:pt idx="3">
                  <c:v>Velká Británie</c:v>
                </c:pt>
                <c:pt idx="4">
                  <c:v>Rakousko</c:v>
                </c:pt>
                <c:pt idx="5">
                  <c:v>Lotyšsko</c:v>
                </c:pt>
                <c:pt idx="6">
                  <c:v>Německo</c:v>
                </c:pt>
                <c:pt idx="7">
                  <c:v>Norsko</c:v>
                </c:pt>
                <c:pt idx="8">
                  <c:v>Řecko</c:v>
                </c:pt>
                <c:pt idx="9">
                  <c:v>Malta</c:v>
                </c:pt>
                <c:pt idx="10">
                  <c:v>Litva</c:v>
                </c:pt>
                <c:pt idx="11">
                  <c:v>Estonsko</c:v>
                </c:pt>
                <c:pt idx="12">
                  <c:v>Švédsko</c:v>
                </c:pt>
                <c:pt idx="13">
                  <c:v>Kypr</c:v>
                </c:pt>
                <c:pt idx="14">
                  <c:v>Island</c:v>
                </c:pt>
                <c:pt idx="15">
                  <c:v>Slovensko</c:v>
                </c:pt>
                <c:pt idx="16">
                  <c:v>Nizozemsko</c:v>
                </c:pt>
                <c:pt idx="17">
                  <c:v>Polsko</c:v>
                </c:pt>
                <c:pt idx="18">
                  <c:v>Portugalsko</c:v>
                </c:pt>
                <c:pt idx="19">
                  <c:v>Francie</c:v>
                </c:pt>
                <c:pt idx="20">
                  <c:v>Bulharsko</c:v>
                </c:pt>
                <c:pt idx="21">
                  <c:v>Dánsko</c:v>
                </c:pt>
                <c:pt idx="22">
                  <c:v>Španělsko</c:v>
                </c:pt>
                <c:pt idx="23">
                  <c:v>Maďarsko</c:v>
                </c:pt>
                <c:pt idx="24">
                  <c:v>Rumunsko</c:v>
                </c:pt>
                <c:pt idx="25">
                  <c:v>Česká republika</c:v>
                </c:pt>
                <c:pt idx="26">
                  <c:v>Finsko</c:v>
                </c:pt>
                <c:pt idx="27">
                  <c:v>Itálie</c:v>
                </c:pt>
                <c:pt idx="28">
                  <c:v>Chorvatsko</c:v>
                </c:pt>
                <c:pt idx="29">
                  <c:v>Belgie</c:v>
                </c:pt>
                <c:pt idx="30">
                  <c:v>Slovin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.3411958310477234</c:v>
                </c:pt>
                <c:pt idx="1">
                  <c:v>1.1701526286037309</c:v>
                </c:pt>
                <c:pt idx="2">
                  <c:v>1.1317073170731706</c:v>
                </c:pt>
                <c:pt idx="3">
                  <c:v>1.090120012571637</c:v>
                </c:pt>
                <c:pt idx="4">
                  <c:v>0.94791108935428103</c:v>
                </c:pt>
                <c:pt idx="5">
                  <c:v>0.94411930721012449</c:v>
                </c:pt>
                <c:pt idx="6">
                  <c:v>0.92129234383501091</c:v>
                </c:pt>
                <c:pt idx="7">
                  <c:v>0.90483795302783798</c:v>
                </c:pt>
                <c:pt idx="8">
                  <c:v>0.84496336922368598</c:v>
                </c:pt>
                <c:pt idx="9">
                  <c:v>0.82417582417582413</c:v>
                </c:pt>
                <c:pt idx="10">
                  <c:v>0.81233299461819275</c:v>
                </c:pt>
                <c:pt idx="11">
                  <c:v>0.80817553964168298</c:v>
                </c:pt>
                <c:pt idx="12">
                  <c:v>0.79663463707312676</c:v>
                </c:pt>
                <c:pt idx="13">
                  <c:v>0.79381443298969068</c:v>
                </c:pt>
                <c:pt idx="14">
                  <c:v>0.76713117586087753</c:v>
                </c:pt>
                <c:pt idx="15">
                  <c:v>0.74607480343652077</c:v>
                </c:pt>
                <c:pt idx="16">
                  <c:v>0.72202514018718478</c:v>
                </c:pt>
                <c:pt idx="17">
                  <c:v>0.69806364707863278</c:v>
                </c:pt>
                <c:pt idx="18">
                  <c:v>0.69788565220889998</c:v>
                </c:pt>
                <c:pt idx="19">
                  <c:v>0.69012280910533896</c:v>
                </c:pt>
                <c:pt idx="20">
                  <c:v>0.68693780519146752</c:v>
                </c:pt>
                <c:pt idx="21">
                  <c:v>0.67906499848395385</c:v>
                </c:pt>
                <c:pt idx="22">
                  <c:v>0.67568653370138543</c:v>
                </c:pt>
                <c:pt idx="23">
                  <c:v>0.65376762959660195</c:v>
                </c:pt>
                <c:pt idx="24">
                  <c:v>0.63144662337946267</c:v>
                </c:pt>
                <c:pt idx="25">
                  <c:v>0.62829947809108999</c:v>
                </c:pt>
                <c:pt idx="26">
                  <c:v>0.60342124019957233</c:v>
                </c:pt>
                <c:pt idx="27">
                  <c:v>0.57476529253159214</c:v>
                </c:pt>
                <c:pt idx="28">
                  <c:v>0.57449457011632399</c:v>
                </c:pt>
                <c:pt idx="29">
                  <c:v>0.48202808855034518</c:v>
                </c:pt>
                <c:pt idx="30">
                  <c:v>0.43461877091037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4A1-454A-B56F-BAAB6C631BA8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4A1-454A-B56F-BAAB6C631BA8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4A1-454A-B56F-BAAB6C631BA8}"/>
              </c:ext>
            </c:extLst>
          </c:dPt>
          <c:cat>
            <c:strRef>
              <c:f>List1!$A$2:$A$27</c:f>
              <c:strCache>
                <c:ptCount val="26"/>
                <c:pt idx="0">
                  <c:v>Norsko</c:v>
                </c:pt>
                <c:pt idx="1">
                  <c:v>Estonsko</c:v>
                </c:pt>
                <c:pt idx="2">
                  <c:v>Litva</c:v>
                </c:pt>
                <c:pt idx="3">
                  <c:v>Německo</c:v>
                </c:pt>
                <c:pt idx="4">
                  <c:v>Lichtenštejnsko</c:v>
                </c:pt>
                <c:pt idx="5">
                  <c:v>Lotyšsko</c:v>
                </c:pt>
                <c:pt idx="6">
                  <c:v>Nizozemsko</c:v>
                </c:pt>
                <c:pt idx="7">
                  <c:v>Island</c:v>
                </c:pt>
                <c:pt idx="8">
                  <c:v>Finsko</c:v>
                </c:pt>
                <c:pt idx="9">
                  <c:v>Slovensko</c:v>
                </c:pt>
                <c:pt idx="10">
                  <c:v>Maďarsko</c:v>
                </c:pt>
                <c:pt idx="11">
                  <c:v>Lucembursko</c:v>
                </c:pt>
                <c:pt idx="12">
                  <c:v>Irsko</c:v>
                </c:pt>
                <c:pt idx="13">
                  <c:v>Francie</c:v>
                </c:pt>
                <c:pt idx="14">
                  <c:v>Dánsko</c:v>
                </c:pt>
                <c:pt idx="15">
                  <c:v>Česká republika</c:v>
                </c:pt>
                <c:pt idx="16">
                  <c:v>Polsko</c:v>
                </c:pt>
                <c:pt idx="17">
                  <c:v>Rumunsko</c:v>
                </c:pt>
                <c:pt idx="18">
                  <c:v>Španělsko</c:v>
                </c:pt>
                <c:pt idx="19">
                  <c:v>Bulharsko</c:v>
                </c:pt>
                <c:pt idx="20">
                  <c:v>Belgie</c:v>
                </c:pt>
                <c:pt idx="21">
                  <c:v>Portugalsko</c:v>
                </c:pt>
                <c:pt idx="22">
                  <c:v>Chorvatsko</c:v>
                </c:pt>
                <c:pt idx="23">
                  <c:v>Itálie</c:v>
                </c:pt>
                <c:pt idx="24">
                  <c:v>Slovinsko</c:v>
                </c:pt>
                <c:pt idx="25">
                  <c:v>Malta</c:v>
                </c:pt>
              </c:strCache>
            </c:strRef>
          </c:cat>
          <c:val>
            <c:numRef>
              <c:f>List1!$B$2:$B$27</c:f>
              <c:numCache>
                <c:formatCode>0.0%</c:formatCode>
                <c:ptCount val="26"/>
                <c:pt idx="0">
                  <c:v>0.6139552241206806</c:v>
                </c:pt>
                <c:pt idx="1">
                  <c:v>0.5819996882920867</c:v>
                </c:pt>
                <c:pt idx="2">
                  <c:v>0.5729387269482451</c:v>
                </c:pt>
                <c:pt idx="3">
                  <c:v>0.53597216390863511</c:v>
                </c:pt>
                <c:pt idx="4">
                  <c:v>0.45791128187216207</c:v>
                </c:pt>
                <c:pt idx="5">
                  <c:v>0.45405566676264786</c:v>
                </c:pt>
                <c:pt idx="6">
                  <c:v>0.36655026572974325</c:v>
                </c:pt>
                <c:pt idx="7">
                  <c:v>0.3355236543738998</c:v>
                </c:pt>
                <c:pt idx="8">
                  <c:v>0.3094360385144429</c:v>
                </c:pt>
                <c:pt idx="9">
                  <c:v>0.29517004428200866</c:v>
                </c:pt>
                <c:pt idx="10">
                  <c:v>0.26205855338264222</c:v>
                </c:pt>
                <c:pt idx="11">
                  <c:v>0.2600694656023399</c:v>
                </c:pt>
                <c:pt idx="12">
                  <c:v>0.23292076204344134</c:v>
                </c:pt>
                <c:pt idx="13">
                  <c:v>0.22841643464986586</c:v>
                </c:pt>
                <c:pt idx="14">
                  <c:v>0.21902675246746692</c:v>
                </c:pt>
                <c:pt idx="15">
                  <c:v>0.20738606475060972</c:v>
                </c:pt>
                <c:pt idx="16">
                  <c:v>0.2053482416873546</c:v>
                </c:pt>
                <c:pt idx="17">
                  <c:v>0.19545823620314834</c:v>
                </c:pt>
                <c:pt idx="18">
                  <c:v>0.17414674814103487</c:v>
                </c:pt>
                <c:pt idx="19">
                  <c:v>0.17035696094938702</c:v>
                </c:pt>
                <c:pt idx="20">
                  <c:v>0.16496735628285569</c:v>
                </c:pt>
                <c:pt idx="21">
                  <c:v>0.14852327580593788</c:v>
                </c:pt>
                <c:pt idx="22">
                  <c:v>0.12799433322981474</c:v>
                </c:pt>
                <c:pt idx="23">
                  <c:v>8.280951928374912E-2</c:v>
                </c:pt>
                <c:pt idx="24">
                  <c:v>6.2304609831452085E-2</c:v>
                </c:pt>
                <c:pt idx="25">
                  <c:v>3.95412937693537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7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28</c:f>
              <c:strCache>
                <c:ptCount val="27"/>
                <c:pt idx="0">
                  <c:v>Litva</c:v>
                </c:pt>
                <c:pt idx="1">
                  <c:v>Norsko</c:v>
                </c:pt>
                <c:pt idx="2">
                  <c:v>Estonsko</c:v>
                </c:pt>
                <c:pt idx="3">
                  <c:v>Německo</c:v>
                </c:pt>
                <c:pt idx="4">
                  <c:v>Lichtenštejnsko</c:v>
                </c:pt>
                <c:pt idx="5">
                  <c:v>Lotyšsko</c:v>
                </c:pt>
                <c:pt idx="6">
                  <c:v>Nizozemsko</c:v>
                </c:pt>
                <c:pt idx="7">
                  <c:v>Irsko</c:v>
                </c:pt>
                <c:pt idx="8">
                  <c:v>Slovensko</c:v>
                </c:pt>
                <c:pt idx="9">
                  <c:v>Lucembursko</c:v>
                </c:pt>
                <c:pt idx="10">
                  <c:v>Island</c:v>
                </c:pt>
                <c:pt idx="11">
                  <c:v>Finsko</c:v>
                </c:pt>
                <c:pt idx="12">
                  <c:v>Maďarsko</c:v>
                </c:pt>
                <c:pt idx="13">
                  <c:v>Dánsko</c:v>
                </c:pt>
                <c:pt idx="14">
                  <c:v>Česká republika</c:v>
                </c:pt>
                <c:pt idx="15">
                  <c:v>Francie</c:v>
                </c:pt>
                <c:pt idx="16">
                  <c:v>Polsko</c:v>
                </c:pt>
                <c:pt idx="17">
                  <c:v>Rumunsko</c:v>
                </c:pt>
                <c:pt idx="18">
                  <c:v>Španělsko</c:v>
                </c:pt>
                <c:pt idx="19">
                  <c:v>Bulharsko</c:v>
                </c:pt>
                <c:pt idx="20">
                  <c:v>Slovinsko</c:v>
                </c:pt>
                <c:pt idx="21">
                  <c:v>Portugalsko</c:v>
                </c:pt>
                <c:pt idx="22">
                  <c:v>Belgie</c:v>
                </c:pt>
                <c:pt idx="23">
                  <c:v>Chorvatsko</c:v>
                </c:pt>
                <c:pt idx="24">
                  <c:v>Itálie</c:v>
                </c:pt>
                <c:pt idx="25">
                  <c:v>Malta</c:v>
                </c:pt>
                <c:pt idx="26">
                  <c:v>Rakousko</c:v>
                </c:pt>
              </c:strCache>
            </c:strRef>
          </c:cat>
          <c:val>
            <c:numRef>
              <c:f>List1!$B$2:$B$28</c:f>
              <c:numCache>
                <c:formatCode>0.0%</c:formatCode>
                <c:ptCount val="27"/>
                <c:pt idx="0">
                  <c:v>0.47857136424628299</c:v>
                </c:pt>
                <c:pt idx="1">
                  <c:v>0.62656818721935237</c:v>
                </c:pt>
                <c:pt idx="2">
                  <c:v>0.58952824519230773</c:v>
                </c:pt>
                <c:pt idx="3">
                  <c:v>0.53916082937703447</c:v>
                </c:pt>
                <c:pt idx="4">
                  <c:v>0.44629898403483309</c:v>
                </c:pt>
                <c:pt idx="5">
                  <c:v>0.44470132838354681</c:v>
                </c:pt>
                <c:pt idx="6">
                  <c:v>0.38417776225414885</c:v>
                </c:pt>
                <c:pt idx="7">
                  <c:v>0.1892400267439269</c:v>
                </c:pt>
                <c:pt idx="8">
                  <c:v>0.30678597246063233</c:v>
                </c:pt>
                <c:pt idx="9">
                  <c:v>0.23875319232532249</c:v>
                </c:pt>
                <c:pt idx="10">
                  <c:v>0.39840326687925853</c:v>
                </c:pt>
                <c:pt idx="11">
                  <c:v>0.36572967806403961</c:v>
                </c:pt>
                <c:pt idx="12">
                  <c:v>0.29039402488721699</c:v>
                </c:pt>
                <c:pt idx="13">
                  <c:v>0.22111715984265654</c:v>
                </c:pt>
                <c:pt idx="14">
                  <c:v>0.20327469713535554</c:v>
                </c:pt>
                <c:pt idx="15">
                  <c:v>0.24473723288262383</c:v>
                </c:pt>
                <c:pt idx="16">
                  <c:v>0.21960378876622533</c:v>
                </c:pt>
                <c:pt idx="17">
                  <c:v>0.21955240895182096</c:v>
                </c:pt>
                <c:pt idx="18">
                  <c:v>0.18907147608948938</c:v>
                </c:pt>
                <c:pt idx="19">
                  <c:v>0.18346201449873284</c:v>
                </c:pt>
                <c:pt idx="20">
                  <c:v>5.1177008105053899E-2</c:v>
                </c:pt>
                <c:pt idx="21">
                  <c:v>0.17537273939641973</c:v>
                </c:pt>
                <c:pt idx="22">
                  <c:v>0.20816678448965029</c:v>
                </c:pt>
                <c:pt idx="23">
                  <c:v>0.14527937141431779</c:v>
                </c:pt>
                <c:pt idx="24">
                  <c:v>9.8207050566278514E-2</c:v>
                </c:pt>
                <c:pt idx="25">
                  <c:v>4.1004184100418409E-2</c:v>
                </c:pt>
                <c:pt idx="26">
                  <c:v>3.154650707695930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8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28</c:f>
              <c:strCache>
                <c:ptCount val="27"/>
                <c:pt idx="0">
                  <c:v>Litva</c:v>
                </c:pt>
                <c:pt idx="1">
                  <c:v>Norsko</c:v>
                </c:pt>
                <c:pt idx="2">
                  <c:v>Estonsko</c:v>
                </c:pt>
                <c:pt idx="3">
                  <c:v>Německo</c:v>
                </c:pt>
                <c:pt idx="4">
                  <c:v>Lichtenštejnsko</c:v>
                </c:pt>
                <c:pt idx="5">
                  <c:v>Lotyšsko</c:v>
                </c:pt>
                <c:pt idx="6">
                  <c:v>Nizozemsko</c:v>
                </c:pt>
                <c:pt idx="7">
                  <c:v>Irsko</c:v>
                </c:pt>
                <c:pt idx="8">
                  <c:v>Slovensko</c:v>
                </c:pt>
                <c:pt idx="9">
                  <c:v>Lucembursko</c:v>
                </c:pt>
                <c:pt idx="10">
                  <c:v>Island</c:v>
                </c:pt>
                <c:pt idx="11">
                  <c:v>Finsko</c:v>
                </c:pt>
                <c:pt idx="12">
                  <c:v>Maďarsko</c:v>
                </c:pt>
                <c:pt idx="13">
                  <c:v>Dánsko</c:v>
                </c:pt>
                <c:pt idx="14">
                  <c:v>Česká republika</c:v>
                </c:pt>
                <c:pt idx="15">
                  <c:v>Francie</c:v>
                </c:pt>
                <c:pt idx="16">
                  <c:v>Polsko</c:v>
                </c:pt>
                <c:pt idx="17">
                  <c:v>Rumunsko</c:v>
                </c:pt>
                <c:pt idx="18">
                  <c:v>Španělsko</c:v>
                </c:pt>
                <c:pt idx="19">
                  <c:v>Bulharsko</c:v>
                </c:pt>
                <c:pt idx="20">
                  <c:v>Slovinsko</c:v>
                </c:pt>
                <c:pt idx="21">
                  <c:v>Portugalsko</c:v>
                </c:pt>
                <c:pt idx="22">
                  <c:v>Belgie</c:v>
                </c:pt>
                <c:pt idx="23">
                  <c:v>Chorvatsko</c:v>
                </c:pt>
                <c:pt idx="24">
                  <c:v>Itálie</c:v>
                </c:pt>
                <c:pt idx="25">
                  <c:v>Malta</c:v>
                </c:pt>
                <c:pt idx="26">
                  <c:v>Rakousko</c:v>
                </c:pt>
              </c:strCache>
            </c:strRef>
          </c:cat>
          <c:val>
            <c:numRef>
              <c:f>List1!$C$2:$C$28</c:f>
              <c:numCache>
                <c:formatCode>0.0%</c:formatCode>
                <c:ptCount val="27"/>
                <c:pt idx="0">
                  <c:v>0.75659428291007236</c:v>
                </c:pt>
                <c:pt idx="1">
                  <c:v>0.60059361728910354</c:v>
                </c:pt>
                <c:pt idx="2">
                  <c:v>0.57294621402374024</c:v>
                </c:pt>
                <c:pt idx="3">
                  <c:v>0.53255350000000001</c:v>
                </c:pt>
                <c:pt idx="4">
                  <c:v>0.46868686868686871</c:v>
                </c:pt>
                <c:pt idx="5">
                  <c:v>0.4644026186579378</c:v>
                </c:pt>
                <c:pt idx="6">
                  <c:v>0.34464834072194117</c:v>
                </c:pt>
                <c:pt idx="7">
                  <c:v>0.29015640878879556</c:v>
                </c:pt>
                <c:pt idx="8">
                  <c:v>0.28091367525015704</c:v>
                </c:pt>
                <c:pt idx="9">
                  <c:v>0.27861660304256169</c:v>
                </c:pt>
                <c:pt idx="10">
                  <c:v>0.27827213101056941</c:v>
                </c:pt>
                <c:pt idx="11">
                  <c:v>0.24654661942435568</c:v>
                </c:pt>
                <c:pt idx="12">
                  <c:v>0.22802537343973808</c:v>
                </c:pt>
                <c:pt idx="13">
                  <c:v>0.21601936202778405</c:v>
                </c:pt>
                <c:pt idx="14">
                  <c:v>0.2142841135737176</c:v>
                </c:pt>
                <c:pt idx="15">
                  <c:v>0.20828930095383114</c:v>
                </c:pt>
                <c:pt idx="16">
                  <c:v>0.18787704109747963</c:v>
                </c:pt>
                <c:pt idx="17">
                  <c:v>0.16651821103760395</c:v>
                </c:pt>
                <c:pt idx="18">
                  <c:v>0.15593022647236948</c:v>
                </c:pt>
                <c:pt idx="19">
                  <c:v>0.15431078652820576</c:v>
                </c:pt>
                <c:pt idx="20">
                  <c:v>0.12468049423626756</c:v>
                </c:pt>
                <c:pt idx="21">
                  <c:v>0.12180268179727466</c:v>
                </c:pt>
                <c:pt idx="22">
                  <c:v>0.11531978223069271</c:v>
                </c:pt>
                <c:pt idx="23">
                  <c:v>0.10603455788564684</c:v>
                </c:pt>
                <c:pt idx="24">
                  <c:v>6.5061754560971977E-2</c:v>
                </c:pt>
                <c:pt idx="25">
                  <c:v>3.7900664164019639E-2</c:v>
                </c:pt>
                <c:pt idx="26">
                  <c:v>3.253177015446518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H$2:$H$36</c:f>
              <c:numCache>
                <c:formatCode>0.0%</c:formatCode>
                <c:ptCount val="35"/>
                <c:pt idx="0">
                  <c:v>8.9867693557789119E-3</c:v>
                </c:pt>
                <c:pt idx="1">
                  <c:v>1.7590892914005282E-2</c:v>
                </c:pt>
                <c:pt idx="2">
                  <c:v>1.8972151244295528E-2</c:v>
                </c:pt>
                <c:pt idx="3">
                  <c:v>2.4622415215268364E-2</c:v>
                </c:pt>
                <c:pt idx="4">
                  <c:v>2.9400039085401602E-2</c:v>
                </c:pt>
                <c:pt idx="5">
                  <c:v>3.4785030105162061E-2</c:v>
                </c:pt>
                <c:pt idx="6">
                  <c:v>3.7961907307212252E-2</c:v>
                </c:pt>
                <c:pt idx="7">
                  <c:v>4.5126053436085833E-2</c:v>
                </c:pt>
                <c:pt idx="8">
                  <c:v>4.9234933224511432E-2</c:v>
                </c:pt>
                <c:pt idx="9">
                  <c:v>4.8767781581577324E-2</c:v>
                </c:pt>
                <c:pt idx="10">
                  <c:v>4.6002373668990189E-2</c:v>
                </c:pt>
                <c:pt idx="11">
                  <c:v>4.3773039436560086E-2</c:v>
                </c:pt>
                <c:pt idx="12">
                  <c:v>4.1042621530910532E-2</c:v>
                </c:pt>
                <c:pt idx="13">
                  <c:v>4.2871446830841944E-2</c:v>
                </c:pt>
                <c:pt idx="14">
                  <c:v>4.7695759737644554E-2</c:v>
                </c:pt>
                <c:pt idx="15">
                  <c:v>6.4971478569155944E-2</c:v>
                </c:pt>
                <c:pt idx="16">
                  <c:v>8.513971427111891E-2</c:v>
                </c:pt>
                <c:pt idx="17">
                  <c:v>9.2231106864128914E-2</c:v>
                </c:pt>
                <c:pt idx="18">
                  <c:v>0.11053915290717456</c:v>
                </c:pt>
                <c:pt idx="19">
                  <c:v>0.13001104449909845</c:v>
                </c:pt>
                <c:pt idx="20">
                  <c:v>0.14918011582909665</c:v>
                </c:pt>
                <c:pt idx="21">
                  <c:v>0.15018060024955671</c:v>
                </c:pt>
                <c:pt idx="22">
                  <c:v>0.15328191533145796</c:v>
                </c:pt>
                <c:pt idx="23">
                  <c:v>0.14208313349320545</c:v>
                </c:pt>
                <c:pt idx="24">
                  <c:v>0.11158259972570303</c:v>
                </c:pt>
                <c:pt idx="25">
                  <c:v>0.10078891676861121</c:v>
                </c:pt>
                <c:pt idx="26">
                  <c:v>0.16588295703197409</c:v>
                </c:pt>
                <c:pt idx="27">
                  <c:v>0.25701951685591651</c:v>
                </c:pt>
                <c:pt idx="28">
                  <c:v>0.32831559694871398</c:v>
                </c:pt>
                <c:pt idx="29">
                  <c:v>0.43325737623902699</c:v>
                </c:pt>
                <c:pt idx="30">
                  <c:v>0.41111623038811435</c:v>
                </c:pt>
                <c:pt idx="31">
                  <c:v>0.34844041588909624</c:v>
                </c:pt>
                <c:pt idx="32">
                  <c:v>0.27031560338446958</c:v>
                </c:pt>
                <c:pt idx="33">
                  <c:v>0.20816678448965029</c:v>
                </c:pt>
                <c:pt idx="34">
                  <c:v>0.115319782230692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C$2:$C$36</c:f>
              <c:numCache>
                <c:formatCode>0.0%</c:formatCode>
                <c:ptCount val="35"/>
                <c:pt idx="0">
                  <c:v>1.1517058156047645E-3</c:v>
                </c:pt>
                <c:pt idx="1">
                  <c:v>2.5317255698706067E-3</c:v>
                </c:pt>
                <c:pt idx="2">
                  <c:v>2.2194270819700136E-3</c:v>
                </c:pt>
                <c:pt idx="3">
                  <c:v>1.8728172958068549E-3</c:v>
                </c:pt>
                <c:pt idx="4">
                  <c:v>1.5770761194128669E-3</c:v>
                </c:pt>
                <c:pt idx="5">
                  <c:v>1.6438917737086635E-3</c:v>
                </c:pt>
                <c:pt idx="6">
                  <c:v>1.7273342910188042E-3</c:v>
                </c:pt>
                <c:pt idx="7">
                  <c:v>1.931985790556121E-3</c:v>
                </c:pt>
                <c:pt idx="8">
                  <c:v>2.339778359177249E-3</c:v>
                </c:pt>
                <c:pt idx="9">
                  <c:v>3.1286782447349348E-3</c:v>
                </c:pt>
                <c:pt idx="10">
                  <c:v>4.9506360086636128E-3</c:v>
                </c:pt>
                <c:pt idx="11">
                  <c:v>6.069964746751976E-3</c:v>
                </c:pt>
                <c:pt idx="12">
                  <c:v>6.3731746047209423E-3</c:v>
                </c:pt>
                <c:pt idx="13">
                  <c:v>9.8494057561632573E-3</c:v>
                </c:pt>
                <c:pt idx="14">
                  <c:v>1.3399795603918858E-2</c:v>
                </c:pt>
                <c:pt idx="15">
                  <c:v>1.9520761849138944E-2</c:v>
                </c:pt>
                <c:pt idx="16">
                  <c:v>3.6602253361266719E-2</c:v>
                </c:pt>
                <c:pt idx="17">
                  <c:v>4.8995597373232259E-2</c:v>
                </c:pt>
                <c:pt idx="18">
                  <c:v>8.8419311000771134E-2</c:v>
                </c:pt>
                <c:pt idx="19">
                  <c:v>0.10899667932024398</c:v>
                </c:pt>
                <c:pt idx="20">
                  <c:v>0.13501847864592101</c:v>
                </c:pt>
                <c:pt idx="21">
                  <c:v>0.16106380847440649</c:v>
                </c:pt>
                <c:pt idx="22">
                  <c:v>0.1452800028440219</c:v>
                </c:pt>
                <c:pt idx="23">
                  <c:v>0.13000642841158369</c:v>
                </c:pt>
                <c:pt idx="24">
                  <c:v>0.10550963762528913</c:v>
                </c:pt>
                <c:pt idx="25">
                  <c:v>8.2783702276785984E-2</c:v>
                </c:pt>
                <c:pt idx="26">
                  <c:v>9.8835896051522487E-2</c:v>
                </c:pt>
                <c:pt idx="27">
                  <c:v>8.7948242608093183E-2</c:v>
                </c:pt>
                <c:pt idx="28">
                  <c:v>0.12136572558555911</c:v>
                </c:pt>
                <c:pt idx="29">
                  <c:v>0.18226622355819452</c:v>
                </c:pt>
                <c:pt idx="30">
                  <c:v>0.23271744930006383</c:v>
                </c:pt>
                <c:pt idx="31">
                  <c:v>0.23972228022551681</c:v>
                </c:pt>
                <c:pt idx="32">
                  <c:v>0.22907411745599676</c:v>
                </c:pt>
                <c:pt idx="33">
                  <c:v>0.20327469713535554</c:v>
                </c:pt>
                <c:pt idx="34">
                  <c:v>0.21428411357371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D$2:$D$36</c:f>
              <c:numCache>
                <c:formatCode>0.0%</c:formatCode>
                <c:ptCount val="35"/>
                <c:pt idx="0">
                  <c:v>8.7743639303792011E-3</c:v>
                </c:pt>
                <c:pt idx="1">
                  <c:v>1.2407202619028043E-2</c:v>
                </c:pt>
                <c:pt idx="2">
                  <c:v>2.3378893884813186E-2</c:v>
                </c:pt>
                <c:pt idx="3">
                  <c:v>4.2076159564349735E-2</c:v>
                </c:pt>
                <c:pt idx="4">
                  <c:v>4.2618263732455378E-2</c:v>
                </c:pt>
                <c:pt idx="5">
                  <c:v>4.3305743173333432E-2</c:v>
                </c:pt>
                <c:pt idx="6">
                  <c:v>3.5691828298066018E-2</c:v>
                </c:pt>
                <c:pt idx="7">
                  <c:v>3.1057260114972538E-2</c:v>
                </c:pt>
                <c:pt idx="8">
                  <c:v>2.8494347519878557E-2</c:v>
                </c:pt>
                <c:pt idx="9">
                  <c:v>2.4630632269883723E-2</c:v>
                </c:pt>
                <c:pt idx="10">
                  <c:v>1.9954781460228933E-2</c:v>
                </c:pt>
                <c:pt idx="11">
                  <c:v>1.4879269519677944E-2</c:v>
                </c:pt>
                <c:pt idx="12">
                  <c:v>1.2461365680182484E-2</c:v>
                </c:pt>
                <c:pt idx="13">
                  <c:v>1.0940178320000707E-2</c:v>
                </c:pt>
                <c:pt idx="14">
                  <c:v>1.0219963646944673E-2</c:v>
                </c:pt>
                <c:pt idx="15">
                  <c:v>1.1529827699139957E-2</c:v>
                </c:pt>
                <c:pt idx="16">
                  <c:v>1.7536007395283458E-2</c:v>
                </c:pt>
                <c:pt idx="17">
                  <c:v>2.1321999384926842E-2</c:v>
                </c:pt>
                <c:pt idx="18">
                  <c:v>2.9361010393789341E-2</c:v>
                </c:pt>
                <c:pt idx="19">
                  <c:v>3.610796744224707E-2</c:v>
                </c:pt>
                <c:pt idx="20">
                  <c:v>4.7830374559951212E-2</c:v>
                </c:pt>
                <c:pt idx="21">
                  <c:v>5.6620310421184351E-2</c:v>
                </c:pt>
                <c:pt idx="22">
                  <c:v>6.4567926298003023E-2</c:v>
                </c:pt>
                <c:pt idx="23">
                  <c:v>6.6628787641547255E-2</c:v>
                </c:pt>
                <c:pt idx="24">
                  <c:v>6.7942473851072646E-2</c:v>
                </c:pt>
                <c:pt idx="25">
                  <c:v>8.3196439462180929E-2</c:v>
                </c:pt>
                <c:pt idx="26">
                  <c:v>0.16929061897830538</c:v>
                </c:pt>
                <c:pt idx="27">
                  <c:v>0.20191556692272886</c:v>
                </c:pt>
                <c:pt idx="28">
                  <c:v>0.22901896117841777</c:v>
                </c:pt>
                <c:pt idx="29">
                  <c:v>0.31210067829523158</c:v>
                </c:pt>
                <c:pt idx="30">
                  <c:v>0.34234847520375028</c:v>
                </c:pt>
                <c:pt idx="31">
                  <c:v>0.33387090359491628</c:v>
                </c:pt>
                <c:pt idx="32">
                  <c:v>0.28930385176882467</c:v>
                </c:pt>
                <c:pt idx="33">
                  <c:v>0.24473723288262383</c:v>
                </c:pt>
                <c:pt idx="34">
                  <c:v>0.20828930095383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F$2:$F$36</c:f>
              <c:numCache>
                <c:formatCode>0.0%</c:formatCode>
                <c:ptCount val="35"/>
                <c:pt idx="0">
                  <c:v>4.6617385902790014E-3</c:v>
                </c:pt>
                <c:pt idx="1">
                  <c:v>7.549365680422737E-3</c:v>
                </c:pt>
                <c:pt idx="2">
                  <c:v>1.4701126701955813E-2</c:v>
                </c:pt>
                <c:pt idx="3">
                  <c:v>2.1806745103719934E-2</c:v>
                </c:pt>
                <c:pt idx="4">
                  <c:v>2.5897434860391533E-2</c:v>
                </c:pt>
                <c:pt idx="5">
                  <c:v>2.9104930592201501E-2</c:v>
                </c:pt>
                <c:pt idx="6">
                  <c:v>3.0155726256983241E-2</c:v>
                </c:pt>
                <c:pt idx="7">
                  <c:v>3.2486406709532165E-2</c:v>
                </c:pt>
                <c:pt idx="8">
                  <c:v>2.8539069384095325E-2</c:v>
                </c:pt>
                <c:pt idx="9">
                  <c:v>2.1046625966882785E-2</c:v>
                </c:pt>
                <c:pt idx="10">
                  <c:v>1.7087307952651547E-2</c:v>
                </c:pt>
                <c:pt idx="11">
                  <c:v>1.4705179457088029E-2</c:v>
                </c:pt>
                <c:pt idx="12">
                  <c:v>1.1972530810842505E-2</c:v>
                </c:pt>
                <c:pt idx="13">
                  <c:v>1.0449449706934916E-2</c:v>
                </c:pt>
                <c:pt idx="14">
                  <c:v>9.3544516538148301E-3</c:v>
                </c:pt>
                <c:pt idx="15">
                  <c:v>7.486057656349172E-3</c:v>
                </c:pt>
                <c:pt idx="16">
                  <c:v>7.6600106657234148E-3</c:v>
                </c:pt>
                <c:pt idx="17">
                  <c:v>1.00534864210806E-2</c:v>
                </c:pt>
                <c:pt idx="18">
                  <c:v>1.2628086730677909E-2</c:v>
                </c:pt>
                <c:pt idx="19">
                  <c:v>1.5577513193977823E-2</c:v>
                </c:pt>
                <c:pt idx="20">
                  <c:v>1.8699477455339213E-2</c:v>
                </c:pt>
                <c:pt idx="21">
                  <c:v>2.2477185355770809E-2</c:v>
                </c:pt>
                <c:pt idx="22">
                  <c:v>2.6159974835936003E-2</c:v>
                </c:pt>
                <c:pt idx="23">
                  <c:v>3.3700980559692527E-2</c:v>
                </c:pt>
                <c:pt idx="24">
                  <c:v>3.95444194050662E-2</c:v>
                </c:pt>
                <c:pt idx="25">
                  <c:v>5.9217646972707268E-2</c:v>
                </c:pt>
                <c:pt idx="26">
                  <c:v>0.13161023966088081</c:v>
                </c:pt>
                <c:pt idx="27">
                  <c:v>0.18161975276526462</c:v>
                </c:pt>
                <c:pt idx="28">
                  <c:v>0.15641852269933254</c:v>
                </c:pt>
                <c:pt idx="29">
                  <c:v>0.15409180893212773</c:v>
                </c:pt>
                <c:pt idx="30">
                  <c:v>0.13002437947218501</c:v>
                </c:pt>
                <c:pt idx="31">
                  <c:v>0.10617813887787569</c:v>
                </c:pt>
                <c:pt idx="32">
                  <c:v>9.7878648025936807E-2</c:v>
                </c:pt>
                <c:pt idx="33">
                  <c:v>9.8207050566278514E-2</c:v>
                </c:pt>
                <c:pt idx="34">
                  <c:v>6.506175456097197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J$2:$J$36</c:f>
              <c:numCache>
                <c:formatCode>0.0%</c:formatCode>
                <c:ptCount val="35"/>
                <c:pt idx="0">
                  <c:v>4.6165145315286956E-3</c:v>
                </c:pt>
                <c:pt idx="1">
                  <c:v>5.932112645893565E-3</c:v>
                </c:pt>
                <c:pt idx="2">
                  <c:v>7.0108074292987033E-3</c:v>
                </c:pt>
                <c:pt idx="3">
                  <c:v>8.5268660553603562E-3</c:v>
                </c:pt>
                <c:pt idx="4">
                  <c:v>8.2225220016701999E-3</c:v>
                </c:pt>
                <c:pt idx="5">
                  <c:v>7.7855040313979775E-3</c:v>
                </c:pt>
                <c:pt idx="6">
                  <c:v>9.8493626882966388E-3</c:v>
                </c:pt>
                <c:pt idx="7">
                  <c:v>1.1483342639121534E-2</c:v>
                </c:pt>
                <c:pt idx="8">
                  <c:v>1.714011189114634E-2</c:v>
                </c:pt>
                <c:pt idx="9">
                  <c:v>2.0650760445524961E-2</c:v>
                </c:pt>
                <c:pt idx="10">
                  <c:v>2.344409250449437E-2</c:v>
                </c:pt>
                <c:pt idx="11">
                  <c:v>2.7386688359093091E-2</c:v>
                </c:pt>
                <c:pt idx="12">
                  <c:v>3.28770989135036E-2</c:v>
                </c:pt>
                <c:pt idx="13">
                  <c:v>4.4005792797945746E-2</c:v>
                </c:pt>
                <c:pt idx="14">
                  <c:v>5.0057914636011974E-2</c:v>
                </c:pt>
                <c:pt idx="15">
                  <c:v>6.8871645587227151E-2</c:v>
                </c:pt>
                <c:pt idx="16">
                  <c:v>0.11984589665911424</c:v>
                </c:pt>
                <c:pt idx="17">
                  <c:v>0.16136845697309521</c:v>
                </c:pt>
                <c:pt idx="18">
                  <c:v>0.20132975089940344</c:v>
                </c:pt>
                <c:pt idx="19">
                  <c:v>0.22405975279264989</c:v>
                </c:pt>
                <c:pt idx="20">
                  <c:v>0.23216177902514462</c:v>
                </c:pt>
                <c:pt idx="21">
                  <c:v>0.24564115866839603</c:v>
                </c:pt>
                <c:pt idx="22">
                  <c:v>0.25009453194357678</c:v>
                </c:pt>
                <c:pt idx="23">
                  <c:v>0.22101900279405715</c:v>
                </c:pt>
                <c:pt idx="24">
                  <c:v>0.18354848356468215</c:v>
                </c:pt>
                <c:pt idx="25">
                  <c:v>0.16831643768839721</c:v>
                </c:pt>
                <c:pt idx="26">
                  <c:v>0.19135301019947648</c:v>
                </c:pt>
                <c:pt idx="27">
                  <c:v>0.22770981837868495</c:v>
                </c:pt>
                <c:pt idx="28">
                  <c:v>0.2949646576188617</c:v>
                </c:pt>
                <c:pt idx="29">
                  <c:v>0.35231291153411221</c:v>
                </c:pt>
                <c:pt idx="30">
                  <c:v>0.39168989017060096</c:v>
                </c:pt>
                <c:pt idx="31">
                  <c:v>0.39053801475169325</c:v>
                </c:pt>
                <c:pt idx="32">
                  <c:v>0.3739528398421248</c:v>
                </c:pt>
                <c:pt idx="33">
                  <c:v>0.29039402488721699</c:v>
                </c:pt>
                <c:pt idx="34">
                  <c:v>0.22802537343973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E$2:$E$36</c:f>
              <c:numCache>
                <c:formatCode>0.0%</c:formatCode>
                <c:ptCount val="35"/>
                <c:pt idx="0">
                  <c:v>5.9754036030220305E-3</c:v>
                </c:pt>
                <c:pt idx="1">
                  <c:v>9.0517332260727553E-3</c:v>
                </c:pt>
                <c:pt idx="2">
                  <c:v>1.4863562878651796E-2</c:v>
                </c:pt>
                <c:pt idx="3">
                  <c:v>2.1083668504892752E-2</c:v>
                </c:pt>
                <c:pt idx="4">
                  <c:v>2.6376494044236979E-2</c:v>
                </c:pt>
                <c:pt idx="5">
                  <c:v>3.4343831954768957E-2</c:v>
                </c:pt>
                <c:pt idx="6">
                  <c:v>5.5992261516058399E-2</c:v>
                </c:pt>
                <c:pt idx="7">
                  <c:v>7.1337515539554905E-2</c:v>
                </c:pt>
                <c:pt idx="8">
                  <c:v>7.6596245675878763E-2</c:v>
                </c:pt>
                <c:pt idx="9">
                  <c:v>7.8516674847567219E-2</c:v>
                </c:pt>
                <c:pt idx="10">
                  <c:v>7.0548125868564751E-2</c:v>
                </c:pt>
                <c:pt idx="11">
                  <c:v>6.2259592250221603E-2</c:v>
                </c:pt>
                <c:pt idx="12">
                  <c:v>5.5372920830170362E-2</c:v>
                </c:pt>
                <c:pt idx="13">
                  <c:v>5.8214123758090451E-2</c:v>
                </c:pt>
                <c:pt idx="14">
                  <c:v>6.0167182347834296E-2</c:v>
                </c:pt>
                <c:pt idx="15">
                  <c:v>7.5628491943360507E-2</c:v>
                </c:pt>
                <c:pt idx="16">
                  <c:v>0.10700626202392906</c:v>
                </c:pt>
                <c:pt idx="17">
                  <c:v>0.11715363848220041</c:v>
                </c:pt>
                <c:pt idx="18">
                  <c:v>0.14852962418394788</c:v>
                </c:pt>
                <c:pt idx="19">
                  <c:v>0.16564508548443213</c:v>
                </c:pt>
                <c:pt idx="20">
                  <c:v>0.18792871411543646</c:v>
                </c:pt>
                <c:pt idx="21">
                  <c:v>0.20657416183174523</c:v>
                </c:pt>
                <c:pt idx="22">
                  <c:v>0.19908325588714881</c:v>
                </c:pt>
                <c:pt idx="23">
                  <c:v>0.1940967981856079</c:v>
                </c:pt>
                <c:pt idx="24">
                  <c:v>0.17572287152532926</c:v>
                </c:pt>
                <c:pt idx="25">
                  <c:v>0.15576316732066248</c:v>
                </c:pt>
                <c:pt idx="26">
                  <c:v>0.21724413662705347</c:v>
                </c:pt>
                <c:pt idx="27">
                  <c:v>0.22547180510063175</c:v>
                </c:pt>
                <c:pt idx="28">
                  <c:v>0.23673771879261898</c:v>
                </c:pt>
                <c:pt idx="29">
                  <c:v>0.31507704281142462</c:v>
                </c:pt>
                <c:pt idx="30">
                  <c:v>0.42988305713694841</c:v>
                </c:pt>
                <c:pt idx="31">
                  <c:v>0.48814838288921342</c:v>
                </c:pt>
                <c:pt idx="32">
                  <c:v>0.52155272664316221</c:v>
                </c:pt>
                <c:pt idx="33">
                  <c:v>0.53916082937703447</c:v>
                </c:pt>
                <c:pt idx="34">
                  <c:v>0.5325535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G$2:$G$36</c:f>
              <c:numCache>
                <c:formatCode>0.0%</c:formatCode>
                <c:ptCount val="35"/>
                <c:pt idx="0">
                  <c:v>1.2664570792401693E-2</c:v>
                </c:pt>
                <c:pt idx="1">
                  <c:v>7.2728118055103541E-2</c:v>
                </c:pt>
                <c:pt idx="2">
                  <c:v>9.4513251430027409E-2</c:v>
                </c:pt>
                <c:pt idx="3">
                  <c:v>4.2831293747916763E-2</c:v>
                </c:pt>
                <c:pt idx="4">
                  <c:v>3.0733414462694352E-2</c:v>
                </c:pt>
                <c:pt idx="5">
                  <c:v>2.7825005631342974E-2</c:v>
                </c:pt>
                <c:pt idx="6">
                  <c:v>3.1657769141141545E-2</c:v>
                </c:pt>
                <c:pt idx="7">
                  <c:v>3.5899046398424672E-2</c:v>
                </c:pt>
                <c:pt idx="8">
                  <c:v>4.3226967033073598E-2</c:v>
                </c:pt>
                <c:pt idx="9">
                  <c:v>4.5557040469347422E-2</c:v>
                </c:pt>
                <c:pt idx="10">
                  <c:v>4.3038105046343977E-2</c:v>
                </c:pt>
                <c:pt idx="11">
                  <c:v>3.6923409141183784E-2</c:v>
                </c:pt>
                <c:pt idx="12">
                  <c:v>2.4035884092889627E-2</c:v>
                </c:pt>
                <c:pt idx="13">
                  <c:v>2.0344820293002074E-2</c:v>
                </c:pt>
                <c:pt idx="14">
                  <c:v>3.3618541147443969E-2</c:v>
                </c:pt>
                <c:pt idx="15">
                  <c:v>3.4935340667824742E-2</c:v>
                </c:pt>
                <c:pt idx="16">
                  <c:v>4.5094150060073744E-2</c:v>
                </c:pt>
                <c:pt idx="17">
                  <c:v>6.2254394775862025E-2</c:v>
                </c:pt>
                <c:pt idx="18">
                  <c:v>7.3599111462349279E-2</c:v>
                </c:pt>
                <c:pt idx="19">
                  <c:v>8.4867431973635735E-2</c:v>
                </c:pt>
                <c:pt idx="20">
                  <c:v>0.1166082560851078</c:v>
                </c:pt>
                <c:pt idx="21">
                  <c:v>0.11913992452578399</c:v>
                </c:pt>
                <c:pt idx="22">
                  <c:v>0.13478896319588998</c:v>
                </c:pt>
                <c:pt idx="23">
                  <c:v>0.13769289209829527</c:v>
                </c:pt>
                <c:pt idx="24">
                  <c:v>0.13153786774165879</c:v>
                </c:pt>
                <c:pt idx="25">
                  <c:v>0.14066663032723656</c:v>
                </c:pt>
                <c:pt idx="26">
                  <c:v>0.18940176148321175</c:v>
                </c:pt>
                <c:pt idx="27">
                  <c:v>0.25259398415680334</c:v>
                </c:pt>
                <c:pt idx="28">
                  <c:v>0.27764110424510607</c:v>
                </c:pt>
                <c:pt idx="29">
                  <c:v>0.34741483062231476</c:v>
                </c:pt>
                <c:pt idx="30">
                  <c:v>0.39492443948391548</c:v>
                </c:pt>
                <c:pt idx="31">
                  <c:v>0.43653372222888842</c:v>
                </c:pt>
                <c:pt idx="32">
                  <c:v>0.40529036195594836</c:v>
                </c:pt>
                <c:pt idx="33">
                  <c:v>0.38417776225414885</c:v>
                </c:pt>
                <c:pt idx="34">
                  <c:v>0.34464834072194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I$2:$I$36</c:f>
              <c:numCache>
                <c:formatCode>0.0%</c:formatCode>
                <c:ptCount val="35"/>
                <c:pt idx="0">
                  <c:v>2.1344901189314447E-3</c:v>
                </c:pt>
                <c:pt idx="1">
                  <c:v>2.0111258354252631E-3</c:v>
                </c:pt>
                <c:pt idx="2">
                  <c:v>2.3433512530782099E-3</c:v>
                </c:pt>
                <c:pt idx="3">
                  <c:v>2.8143125717401832E-3</c:v>
                </c:pt>
                <c:pt idx="4">
                  <c:v>3.483765110247946E-3</c:v>
                </c:pt>
                <c:pt idx="5">
                  <c:v>3.8001043022869918E-3</c:v>
                </c:pt>
                <c:pt idx="6">
                  <c:v>4.7280722475605544E-3</c:v>
                </c:pt>
                <c:pt idx="7">
                  <c:v>5.0274835768869819E-3</c:v>
                </c:pt>
                <c:pt idx="8">
                  <c:v>6.2417235210754972E-3</c:v>
                </c:pt>
                <c:pt idx="9">
                  <c:v>8.9875520632396125E-3</c:v>
                </c:pt>
                <c:pt idx="10">
                  <c:v>1.2670956577321677E-2</c:v>
                </c:pt>
                <c:pt idx="11">
                  <c:v>1.6751379694115217E-2</c:v>
                </c:pt>
                <c:pt idx="12">
                  <c:v>2.0444139194139194E-2</c:v>
                </c:pt>
                <c:pt idx="13">
                  <c:v>2.9341924839187968E-2</c:v>
                </c:pt>
                <c:pt idx="14">
                  <c:v>4.6197617026627683E-2</c:v>
                </c:pt>
                <c:pt idx="15">
                  <c:v>6.6678390888034927E-2</c:v>
                </c:pt>
                <c:pt idx="16">
                  <c:v>0.11175634569997235</c:v>
                </c:pt>
                <c:pt idx="17">
                  <c:v>0.15054810327419588</c:v>
                </c:pt>
                <c:pt idx="18">
                  <c:v>0.19202110339815676</c:v>
                </c:pt>
                <c:pt idx="19">
                  <c:v>0.2228222939699312</c:v>
                </c:pt>
                <c:pt idx="20">
                  <c:v>0.24583406029879135</c:v>
                </c:pt>
                <c:pt idx="21">
                  <c:v>0.25382659606727159</c:v>
                </c:pt>
                <c:pt idx="22">
                  <c:v>0.24777299622639223</c:v>
                </c:pt>
                <c:pt idx="23">
                  <c:v>0.23529259911104902</c:v>
                </c:pt>
                <c:pt idx="24">
                  <c:v>0.20158611181963143</c:v>
                </c:pt>
                <c:pt idx="25">
                  <c:v>0.16609146146957882</c:v>
                </c:pt>
                <c:pt idx="26">
                  <c:v>0.14003577931714339</c:v>
                </c:pt>
                <c:pt idx="27">
                  <c:v>0.14660029373219902</c:v>
                </c:pt>
                <c:pt idx="28">
                  <c:v>0.16684218493385919</c:v>
                </c:pt>
                <c:pt idx="29">
                  <c:v>0.26552017005285683</c:v>
                </c:pt>
                <c:pt idx="30">
                  <c:v>0.30805804850105023</c:v>
                </c:pt>
                <c:pt idx="31">
                  <c:v>0.32726372532871495</c:v>
                </c:pt>
                <c:pt idx="32">
                  <c:v>0.27033280450631919</c:v>
                </c:pt>
                <c:pt idx="33">
                  <c:v>0.21960378876622533</c:v>
                </c:pt>
                <c:pt idx="34">
                  <c:v>0.187877041097479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B$2:$B$36</c:f>
              <c:numCache>
                <c:formatCode>0.0%</c:formatCode>
                <c:ptCount val="35"/>
                <c:pt idx="0">
                  <c:v>1.3166365240795764E-4</c:v>
                </c:pt>
                <c:pt idx="1">
                  <c:v>2.684131283243138E-4</c:v>
                </c:pt>
                <c:pt idx="2">
                  <c:v>6.4438783156001796E-4</c:v>
                </c:pt>
                <c:pt idx="3">
                  <c:v>9.0230684916086886E-4</c:v>
                </c:pt>
                <c:pt idx="4">
                  <c:v>1.0093815667241268E-3</c:v>
                </c:pt>
                <c:pt idx="5">
                  <c:v>1.3509894053988735E-3</c:v>
                </c:pt>
                <c:pt idx="6">
                  <c:v>2.2830970728304483E-3</c:v>
                </c:pt>
                <c:pt idx="7">
                  <c:v>2.9097161791043053E-3</c:v>
                </c:pt>
                <c:pt idx="8">
                  <c:v>3.4908972523427415E-3</c:v>
                </c:pt>
                <c:pt idx="9">
                  <c:v>3.9796939162708442E-3</c:v>
                </c:pt>
                <c:pt idx="10">
                  <c:v>4.2491950404701072E-3</c:v>
                </c:pt>
                <c:pt idx="11">
                  <c:v>4.6213417319023497E-3</c:v>
                </c:pt>
                <c:pt idx="12">
                  <c:v>3.7188059231562684E-3</c:v>
                </c:pt>
                <c:pt idx="13">
                  <c:v>4.1770803485200632E-3</c:v>
                </c:pt>
                <c:pt idx="14">
                  <c:v>3.4909589787743469E-3</c:v>
                </c:pt>
                <c:pt idx="15">
                  <c:v>4.2731511735725628E-3</c:v>
                </c:pt>
                <c:pt idx="16">
                  <c:v>6.46350097090693E-3</c:v>
                </c:pt>
                <c:pt idx="17">
                  <c:v>1.1246294633142253E-2</c:v>
                </c:pt>
                <c:pt idx="18">
                  <c:v>1.1862781983301448E-2</c:v>
                </c:pt>
                <c:pt idx="19">
                  <c:v>1.8290597417978182E-2</c:v>
                </c:pt>
                <c:pt idx="20">
                  <c:v>1.6464084153486099E-2</c:v>
                </c:pt>
                <c:pt idx="21">
                  <c:v>1.0562304283483365E-2</c:v>
                </c:pt>
                <c:pt idx="22">
                  <c:v>8.4511149632630258E-3</c:v>
                </c:pt>
                <c:pt idx="23">
                  <c:v>5.7865515528151383E-3</c:v>
                </c:pt>
                <c:pt idx="24">
                  <c:v>3.1492385542780037E-3</c:v>
                </c:pt>
                <c:pt idx="25">
                  <c:v>3.0696612283801542E-3</c:v>
                </c:pt>
                <c:pt idx="26">
                  <c:v>4.7749537265076615E-3</c:v>
                </c:pt>
                <c:pt idx="27">
                  <c:v>1.4989608276528524E-2</c:v>
                </c:pt>
                <c:pt idx="28">
                  <c:v>1.3965095416734628E-2</c:v>
                </c:pt>
                <c:pt idx="29">
                  <c:v>2.2665755992217766E-2</c:v>
                </c:pt>
                <c:pt idx="30">
                  <c:v>2.8704500652469666E-2</c:v>
                </c:pt>
                <c:pt idx="31">
                  <c:v>2.9225279271824577E-2</c:v>
                </c:pt>
                <c:pt idx="32">
                  <c:v>3.5396636266915832E-2</c:v>
                </c:pt>
                <c:pt idx="33">
                  <c:v>3.1546507076959308E-2</c:v>
                </c:pt>
                <c:pt idx="34">
                  <c:v>3.253177015446518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K$2:$K$36</c:f>
              <c:numCache>
                <c:formatCode>0.0%</c:formatCode>
                <c:ptCount val="35"/>
                <c:pt idx="0">
                  <c:v>1.0677334676159702E-3</c:v>
                </c:pt>
                <c:pt idx="1">
                  <c:v>2.4285447412665793E-3</c:v>
                </c:pt>
                <c:pt idx="2">
                  <c:v>2.2151018431707894E-3</c:v>
                </c:pt>
                <c:pt idx="3">
                  <c:v>3.1765375740442918E-3</c:v>
                </c:pt>
                <c:pt idx="4">
                  <c:v>4.1363613873633166E-3</c:v>
                </c:pt>
                <c:pt idx="5">
                  <c:v>4.4324937503938825E-3</c:v>
                </c:pt>
                <c:pt idx="6">
                  <c:v>5.7273653111229875E-3</c:v>
                </c:pt>
                <c:pt idx="7">
                  <c:v>5.9536372590403824E-3</c:v>
                </c:pt>
                <c:pt idx="8">
                  <c:v>7.3170949083357839E-3</c:v>
                </c:pt>
                <c:pt idx="9">
                  <c:v>1.1196375255355927E-2</c:v>
                </c:pt>
                <c:pt idx="10">
                  <c:v>1.7050535120214604E-2</c:v>
                </c:pt>
                <c:pt idx="11">
                  <c:v>2.8315500796283626E-2</c:v>
                </c:pt>
                <c:pt idx="12">
                  <c:v>2.9621302416296458E-2</c:v>
                </c:pt>
                <c:pt idx="13">
                  <c:v>3.8364537541376954E-2</c:v>
                </c:pt>
                <c:pt idx="14">
                  <c:v>4.5630007586937131E-2</c:v>
                </c:pt>
                <c:pt idx="15">
                  <c:v>5.5002372731586785E-2</c:v>
                </c:pt>
                <c:pt idx="16">
                  <c:v>8.3156289557254848E-2</c:v>
                </c:pt>
                <c:pt idx="17">
                  <c:v>0.1123544383475417</c:v>
                </c:pt>
                <c:pt idx="18">
                  <c:v>0.13808626432166271</c:v>
                </c:pt>
                <c:pt idx="19">
                  <c:v>0.13431291607010357</c:v>
                </c:pt>
                <c:pt idx="20">
                  <c:v>0.1500915177496267</c:v>
                </c:pt>
                <c:pt idx="21">
                  <c:v>0.13441968837073959</c:v>
                </c:pt>
                <c:pt idx="22">
                  <c:v>0.12895144785634807</c:v>
                </c:pt>
                <c:pt idx="23">
                  <c:v>0.11794603091433063</c:v>
                </c:pt>
                <c:pt idx="24">
                  <c:v>9.2125743798345039E-2</c:v>
                </c:pt>
                <c:pt idx="25">
                  <c:v>8.6784284013421364E-2</c:v>
                </c:pt>
                <c:pt idx="26">
                  <c:v>8.8841395529762085E-2</c:v>
                </c:pt>
                <c:pt idx="27">
                  <c:v>6.9600646508182373E-2</c:v>
                </c:pt>
                <c:pt idx="28">
                  <c:v>6.3353874207544431E-2</c:v>
                </c:pt>
                <c:pt idx="29">
                  <c:v>0.12973915903604552</c:v>
                </c:pt>
                <c:pt idx="30">
                  <c:v>0.2159361316289973</c:v>
                </c:pt>
                <c:pt idx="31">
                  <c:v>0.2720844087953736</c:v>
                </c:pt>
                <c:pt idx="32">
                  <c:v>0.30979857654136561</c:v>
                </c:pt>
                <c:pt idx="33">
                  <c:v>0.30678597246063233</c:v>
                </c:pt>
                <c:pt idx="34">
                  <c:v>0.28091367525015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36</c:f>
              <c:numCache>
                <c:formatCode>0.0%</c:formatCode>
                <c:ptCount val="35"/>
                <c:pt idx="0">
                  <c:v>9.3506780450256108E-2</c:v>
                </c:pt>
                <c:pt idx="1">
                  <c:v>0.1278823867609207</c:v>
                </c:pt>
                <c:pt idx="2">
                  <c:v>0.14401683974822219</c:v>
                </c:pt>
                <c:pt idx="3">
                  <c:v>0.14547492832227343</c:v>
                </c:pt>
                <c:pt idx="4">
                  <c:v>0.1297722038807505</c:v>
                </c:pt>
                <c:pt idx="5">
                  <c:v>0.11509142500513624</c:v>
                </c:pt>
                <c:pt idx="6">
                  <c:v>0.10113693909286869</c:v>
                </c:pt>
                <c:pt idx="7">
                  <c:v>8.7615280727927847E-2</c:v>
                </c:pt>
                <c:pt idx="8">
                  <c:v>7.0935957884093334E-2</c:v>
                </c:pt>
                <c:pt idx="9">
                  <c:v>4.9231165881609973E-2</c:v>
                </c:pt>
                <c:pt idx="10">
                  <c:v>3.7306533572970944E-2</c:v>
                </c:pt>
                <c:pt idx="11">
                  <c:v>2.812396830637174E-2</c:v>
                </c:pt>
                <c:pt idx="12">
                  <c:v>2.2405089767083216E-2</c:v>
                </c:pt>
                <c:pt idx="13">
                  <c:v>1.8244774349308542E-2</c:v>
                </c:pt>
                <c:pt idx="14">
                  <c:v>1.8042086515065458E-2</c:v>
                </c:pt>
                <c:pt idx="15">
                  <c:v>1.9685363181959226E-2</c:v>
                </c:pt>
                <c:pt idx="16">
                  <c:v>2.1493474194520145E-2</c:v>
                </c:pt>
                <c:pt idx="17">
                  <c:v>2.3668628500089176E-2</c:v>
                </c:pt>
                <c:pt idx="18">
                  <c:v>2.9796244073548733E-2</c:v>
                </c:pt>
                <c:pt idx="19">
                  <c:v>3.9452006065939002E-2</c:v>
                </c:pt>
                <c:pt idx="20">
                  <c:v>5.3537917508145696E-2</c:v>
                </c:pt>
                <c:pt idx="21">
                  <c:v>6.6176734866251544E-2</c:v>
                </c:pt>
                <c:pt idx="22">
                  <c:v>8.1208130103516268E-2</c:v>
                </c:pt>
                <c:pt idx="23">
                  <c:v>0.11076078655141862</c:v>
                </c:pt>
                <c:pt idx="24">
                  <c:v>0.14299018374024666</c:v>
                </c:pt>
                <c:pt idx="25">
                  <c:v>0.21183094456093499</c:v>
                </c:pt>
                <c:pt idx="26">
                  <c:v>0.30834832127762635</c:v>
                </c:pt>
                <c:pt idx="27">
                  <c:v>0.39329553522109029</c:v>
                </c:pt>
                <c:pt idx="28">
                  <c:v>0.38329642211611009</c:v>
                </c:pt>
                <c:pt idx="29">
                  <c:v>0.37405166132355588</c:v>
                </c:pt>
                <c:pt idx="30">
                  <c:v>0.345130234191031</c:v>
                </c:pt>
                <c:pt idx="31">
                  <c:v>0.28474171866414771</c:v>
                </c:pt>
                <c:pt idx="32">
                  <c:v>0.24079320964170006</c:v>
                </c:pt>
                <c:pt idx="33">
                  <c:v>0.18907147608948938</c:v>
                </c:pt>
                <c:pt idx="34">
                  <c:v>0.15593022647236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I$2:$I$36</c:f>
              <c:numCache>
                <c:formatCode>General</c:formatCode>
                <c:ptCount val="35"/>
                <c:pt idx="0">
                  <c:v>0.37318484626520076</c:v>
                </c:pt>
                <c:pt idx="1">
                  <c:v>0.26036152065014007</c:v>
                </c:pt>
                <c:pt idx="2">
                  <c:v>0.14753819503507937</c:v>
                </c:pt>
                <c:pt idx="3">
                  <c:v>0.15621691239008403</c:v>
                </c:pt>
                <c:pt idx="4">
                  <c:v>0.2777189553601494</c:v>
                </c:pt>
                <c:pt idx="5">
                  <c:v>0.3818635636202054</c:v>
                </c:pt>
                <c:pt idx="6">
                  <c:v>0.3905422809752101</c:v>
                </c:pt>
                <c:pt idx="7">
                  <c:v>0.5467591933652941</c:v>
                </c:pt>
                <c:pt idx="8">
                  <c:v>0.63354636691534083</c:v>
                </c:pt>
                <c:pt idx="9">
                  <c:v>0.62486764956033614</c:v>
                </c:pt>
                <c:pt idx="10">
                  <c:v>0.76372712724041081</c:v>
                </c:pt>
                <c:pt idx="11">
                  <c:v>0.75504840988540622</c:v>
                </c:pt>
                <c:pt idx="12">
                  <c:v>0.80712071401543428</c:v>
                </c:pt>
                <c:pt idx="13">
                  <c:v>0.95465890905051365</c:v>
                </c:pt>
                <c:pt idx="14">
                  <c:v>1.0240886478905511</c:v>
                </c:pt>
                <c:pt idx="15">
                  <c:v>1.3278437553157143</c:v>
                </c:pt>
                <c:pt idx="16">
                  <c:v>1.7270647536459289</c:v>
                </c:pt>
                <c:pt idx="17">
                  <c:v>2.2304303602362001</c:v>
                </c:pt>
                <c:pt idx="18">
                  <c:v>2.6209726412114103</c:v>
                </c:pt>
                <c:pt idx="19">
                  <c:v>3.0288723568966294</c:v>
                </c:pt>
                <c:pt idx="20">
                  <c:v>3.9574951138821293</c:v>
                </c:pt>
                <c:pt idx="21">
                  <c:v>4.8340455667376006</c:v>
                </c:pt>
                <c:pt idx="22">
                  <c:v>5.6151301286880209</c:v>
                </c:pt>
                <c:pt idx="23">
                  <c:v>5.7279534543030817</c:v>
                </c:pt>
                <c:pt idx="24">
                  <c:v>4.8600817188026149</c:v>
                </c:pt>
                <c:pt idx="25">
                  <c:v>4.0616397221421847</c:v>
                </c:pt>
                <c:pt idx="26">
                  <c:v>3.2371615734167416</c:v>
                </c:pt>
                <c:pt idx="27">
                  <c:v>2.4734344461763307</c:v>
                </c:pt>
                <c:pt idx="28">
                  <c:v>2.334574968496256</c:v>
                </c:pt>
                <c:pt idx="29">
                  <c:v>2.7337959668264706</c:v>
                </c:pt>
                <c:pt idx="30">
                  <c:v>3.5322379634869003</c:v>
                </c:pt>
                <c:pt idx="31">
                  <c:v>4.6083989155074798</c:v>
                </c:pt>
                <c:pt idx="32">
                  <c:v>5.3894834774578992</c:v>
                </c:pt>
                <c:pt idx="33">
                  <c:v>5.1204432394527544</c:v>
                </c:pt>
                <c:pt idx="34">
                  <c:v>3.60166770232693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C$2:$C$36</c:f>
              <c:numCache>
                <c:formatCode>General</c:formatCode>
                <c:ptCount val="35"/>
                <c:pt idx="0">
                  <c:v>0.16831964349151421</c:v>
                </c:pt>
                <c:pt idx="1">
                  <c:v>9.3510913050841235E-2</c:v>
                </c:pt>
                <c:pt idx="2">
                  <c:v>5.6106547830504741E-2</c:v>
                </c:pt>
                <c:pt idx="3">
                  <c:v>5.6106547830504741E-2</c:v>
                </c:pt>
                <c:pt idx="4">
                  <c:v>6.5457639135588858E-2</c:v>
                </c:pt>
                <c:pt idx="5">
                  <c:v>7.4808730440672988E-2</c:v>
                </c:pt>
                <c:pt idx="6">
                  <c:v>8.4159821745757105E-2</c:v>
                </c:pt>
                <c:pt idx="7">
                  <c:v>0.13091527827117772</c:v>
                </c:pt>
                <c:pt idx="8">
                  <c:v>0.15896855218643008</c:v>
                </c:pt>
                <c:pt idx="9">
                  <c:v>9.3510913050841235E-2</c:v>
                </c:pt>
                <c:pt idx="10">
                  <c:v>7.4808730440672988E-2</c:v>
                </c:pt>
                <c:pt idx="11">
                  <c:v>0.19637291740676657</c:v>
                </c:pt>
                <c:pt idx="12">
                  <c:v>0.26183055654235543</c:v>
                </c:pt>
                <c:pt idx="13">
                  <c:v>0.26183055654235543</c:v>
                </c:pt>
                <c:pt idx="14">
                  <c:v>0.3833947435084491</c:v>
                </c:pt>
                <c:pt idx="15">
                  <c:v>0.73873621310164572</c:v>
                </c:pt>
                <c:pt idx="16">
                  <c:v>1.3091527827117773</c:v>
                </c:pt>
                <c:pt idx="17">
                  <c:v>2.3471239175761149</c:v>
                </c:pt>
                <c:pt idx="18">
                  <c:v>4.3856618220844537</c:v>
                </c:pt>
                <c:pt idx="19">
                  <c:v>7.1629359396944379</c:v>
                </c:pt>
                <c:pt idx="20">
                  <c:v>10.735052818236573</c:v>
                </c:pt>
                <c:pt idx="21">
                  <c:v>13.58713566628723</c:v>
                </c:pt>
                <c:pt idx="22">
                  <c:v>14.961746088134598</c:v>
                </c:pt>
                <c:pt idx="23">
                  <c:v>15.373194105558298</c:v>
                </c:pt>
                <c:pt idx="24">
                  <c:v>14.251063148948203</c:v>
                </c:pt>
                <c:pt idx="25">
                  <c:v>11.698215222660238</c:v>
                </c:pt>
                <c:pt idx="26">
                  <c:v>8.8367812833044965</c:v>
                </c:pt>
                <c:pt idx="27">
                  <c:v>6.8824032005419138</c:v>
                </c:pt>
                <c:pt idx="28">
                  <c:v>5.3207709525928655</c:v>
                </c:pt>
                <c:pt idx="29">
                  <c:v>3.7404365220336495</c:v>
                </c:pt>
                <c:pt idx="30">
                  <c:v>3.0017003089320031</c:v>
                </c:pt>
                <c:pt idx="31">
                  <c:v>4.3389063655590325</c:v>
                </c:pt>
                <c:pt idx="32">
                  <c:v>6.470955183118213</c:v>
                </c:pt>
                <c:pt idx="33">
                  <c:v>7.0039673875080082</c:v>
                </c:pt>
                <c:pt idx="34">
                  <c:v>6.2839333570165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D$2:$D$36</c:f>
              <c:numCache>
                <c:formatCode>General</c:formatCode>
                <c:ptCount val="35"/>
                <c:pt idx="0">
                  <c:v>0.68775774575649018</c:v>
                </c:pt>
                <c:pt idx="1">
                  <c:v>0.55555377303008058</c:v>
                </c:pt>
                <c:pt idx="2">
                  <c:v>0.42929155188688051</c:v>
                </c:pt>
                <c:pt idx="3">
                  <c:v>0.40255366976243806</c:v>
                </c:pt>
                <c:pt idx="4">
                  <c:v>0.65804898784044297</c:v>
                </c:pt>
                <c:pt idx="5">
                  <c:v>0.97593269754214695</c:v>
                </c:pt>
                <c:pt idx="6">
                  <c:v>1.2522241461613848</c:v>
                </c:pt>
                <c:pt idx="7">
                  <c:v>1.9637488982507125</c:v>
                </c:pt>
                <c:pt idx="8">
                  <c:v>2.3737297574921628</c:v>
                </c:pt>
                <c:pt idx="9">
                  <c:v>2.1791373931420543</c:v>
                </c:pt>
                <c:pt idx="10">
                  <c:v>1.986030466687748</c:v>
                </c:pt>
                <c:pt idx="11">
                  <c:v>1.6904283254230794</c:v>
                </c:pt>
                <c:pt idx="12">
                  <c:v>1.382942680991992</c:v>
                </c:pt>
                <c:pt idx="13">
                  <c:v>1.1363599902888013</c:v>
                </c:pt>
                <c:pt idx="14">
                  <c:v>0.88680642379400565</c:v>
                </c:pt>
                <c:pt idx="15">
                  <c:v>0.68775774575649018</c:v>
                </c:pt>
                <c:pt idx="16">
                  <c:v>0.61497128886217478</c:v>
                </c:pt>
                <c:pt idx="17">
                  <c:v>0.61645672675797714</c:v>
                </c:pt>
                <c:pt idx="18">
                  <c:v>0.67290336679846663</c:v>
                </c:pt>
                <c:pt idx="19">
                  <c:v>0.7397480721095725</c:v>
                </c:pt>
                <c:pt idx="20">
                  <c:v>0.87640835852338905</c:v>
                </c:pt>
                <c:pt idx="21">
                  <c:v>1.2046901334957094</c:v>
                </c:pt>
                <c:pt idx="22">
                  <c:v>1.6815156980482653</c:v>
                </c:pt>
                <c:pt idx="23">
                  <c:v>2.3514481890551271</c:v>
                </c:pt>
                <c:pt idx="24">
                  <c:v>2.9827592947711281</c:v>
                </c:pt>
                <c:pt idx="25">
                  <c:v>3.3793712129503568</c:v>
                </c:pt>
                <c:pt idx="26">
                  <c:v>3.8086627648372371</c:v>
                </c:pt>
                <c:pt idx="27">
                  <c:v>4.338964093638678</c:v>
                </c:pt>
                <c:pt idx="28">
                  <c:v>4.6702167444026026</c:v>
                </c:pt>
                <c:pt idx="29">
                  <c:v>4.9999839572707252</c:v>
                </c:pt>
                <c:pt idx="30">
                  <c:v>5.7219067746306695</c:v>
                </c:pt>
                <c:pt idx="31">
                  <c:v>6.2507226655363075</c:v>
                </c:pt>
                <c:pt idx="32">
                  <c:v>6.3547033182424721</c:v>
                </c:pt>
                <c:pt idx="33">
                  <c:v>5.9506642105842324</c:v>
                </c:pt>
                <c:pt idx="34">
                  <c:v>4.92422662458480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F$2:$F$36</c:f>
              <c:numCache>
                <c:formatCode>General</c:formatCode>
                <c:ptCount val="35"/>
                <c:pt idx="0">
                  <c:v>0.63546368930298991</c:v>
                </c:pt>
                <c:pt idx="1">
                  <c:v>0.5080356144031819</c:v>
                </c:pt>
                <c:pt idx="2">
                  <c:v>0.36551737273892293</c:v>
                </c:pt>
                <c:pt idx="3">
                  <c:v>0.2917432241127183</c:v>
                </c:pt>
                <c:pt idx="4">
                  <c:v>0.33198366881792085</c:v>
                </c:pt>
                <c:pt idx="5">
                  <c:v>0.45438168812957846</c:v>
                </c:pt>
                <c:pt idx="6">
                  <c:v>0.61534346695038855</c:v>
                </c:pt>
                <c:pt idx="7">
                  <c:v>0.89031983910260593</c:v>
                </c:pt>
                <c:pt idx="8">
                  <c:v>1.1082889145891197</c:v>
                </c:pt>
                <c:pt idx="9">
                  <c:v>1.2809874897822804</c:v>
                </c:pt>
                <c:pt idx="10">
                  <c:v>1.384941971937387</c:v>
                </c:pt>
                <c:pt idx="11">
                  <c:v>1.3329647308598336</c:v>
                </c:pt>
                <c:pt idx="12">
                  <c:v>1.304461082526982</c:v>
                </c:pt>
                <c:pt idx="13">
                  <c:v>1.2088900263521258</c:v>
                </c:pt>
                <c:pt idx="14">
                  <c:v>1.0127178584142638</c:v>
                </c:pt>
                <c:pt idx="15">
                  <c:v>0.85510944998555372</c:v>
                </c:pt>
                <c:pt idx="16">
                  <c:v>0.88025972792630525</c:v>
                </c:pt>
                <c:pt idx="17">
                  <c:v>0.93726702459200895</c:v>
                </c:pt>
                <c:pt idx="18">
                  <c:v>0.93726702459200895</c:v>
                </c:pt>
                <c:pt idx="19">
                  <c:v>1.1317625073338209</c:v>
                </c:pt>
                <c:pt idx="20">
                  <c:v>1.3279346752716834</c:v>
                </c:pt>
                <c:pt idx="21">
                  <c:v>1.5073399912490446</c:v>
                </c:pt>
                <c:pt idx="22">
                  <c:v>1.7068655295790069</c:v>
                </c:pt>
                <c:pt idx="23">
                  <c:v>1.9399247718299719</c:v>
                </c:pt>
                <c:pt idx="24">
                  <c:v>2.4244867934884522</c:v>
                </c:pt>
                <c:pt idx="25">
                  <c:v>2.9844996489691873</c:v>
                </c:pt>
                <c:pt idx="26">
                  <c:v>3.3617538180804609</c:v>
                </c:pt>
                <c:pt idx="27">
                  <c:v>4.0693149708136058</c:v>
                </c:pt>
                <c:pt idx="28">
                  <c:v>5.7979774079412634</c:v>
                </c:pt>
                <c:pt idx="29">
                  <c:v>7.5199331042847222</c:v>
                </c:pt>
                <c:pt idx="30">
                  <c:v>8.4588768140727808</c:v>
                </c:pt>
                <c:pt idx="31">
                  <c:v>8.7992439088709524</c:v>
                </c:pt>
                <c:pt idx="32">
                  <c:v>8.1587501639798123</c:v>
                </c:pt>
                <c:pt idx="33">
                  <c:v>7.0722581569393439</c:v>
                </c:pt>
                <c:pt idx="34">
                  <c:v>5.94384901999762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K$2:$K$36</c:f>
              <c:numCache>
                <c:formatCode>General</c:formatCode>
                <c:ptCount val="35"/>
                <c:pt idx="0">
                  <c:v>0.32754915642785537</c:v>
                </c:pt>
                <c:pt idx="1">
                  <c:v>0.18424640049066862</c:v>
                </c:pt>
                <c:pt idx="2">
                  <c:v>0.18424640049066862</c:v>
                </c:pt>
                <c:pt idx="3">
                  <c:v>9.2123200245334311E-2</c:v>
                </c:pt>
                <c:pt idx="4">
                  <c:v>7.1651377968593361E-2</c:v>
                </c:pt>
                <c:pt idx="5">
                  <c:v>0.12283093366044574</c:v>
                </c:pt>
                <c:pt idx="6">
                  <c:v>0.11259502252207527</c:v>
                </c:pt>
                <c:pt idx="7">
                  <c:v>0.17401048935229815</c:v>
                </c:pt>
                <c:pt idx="8">
                  <c:v>0.20471822276740961</c:v>
                </c:pt>
                <c:pt idx="9">
                  <c:v>0.22519004504415055</c:v>
                </c:pt>
                <c:pt idx="10">
                  <c:v>0.4810878235034125</c:v>
                </c:pt>
                <c:pt idx="11">
                  <c:v>0.73698560196267449</c:v>
                </c:pt>
                <c:pt idx="12">
                  <c:v>0.87005244676149074</c:v>
                </c:pt>
                <c:pt idx="13">
                  <c:v>1.1771297809126051</c:v>
                </c:pt>
                <c:pt idx="14">
                  <c:v>1.3716120925416444</c:v>
                </c:pt>
                <c:pt idx="15">
                  <c:v>1.8731717383217978</c:v>
                </c:pt>
                <c:pt idx="16">
                  <c:v>3.3471429422471473</c:v>
                </c:pt>
                <c:pt idx="17">
                  <c:v>6.1415466830222885</c:v>
                </c:pt>
                <c:pt idx="18">
                  <c:v>10.696527139597151</c:v>
                </c:pt>
                <c:pt idx="19">
                  <c:v>15.620000397153353</c:v>
                </c:pt>
                <c:pt idx="20">
                  <c:v>19.110446095337686</c:v>
                </c:pt>
                <c:pt idx="21">
                  <c:v>22.774902282874319</c:v>
                </c:pt>
                <c:pt idx="22">
                  <c:v>26.203932514228431</c:v>
                </c:pt>
                <c:pt idx="23">
                  <c:v>26.152752958536574</c:v>
                </c:pt>
                <c:pt idx="24">
                  <c:v>22.826081838566168</c:v>
                </c:pt>
                <c:pt idx="25">
                  <c:v>18.926199694847018</c:v>
                </c:pt>
                <c:pt idx="26">
                  <c:v>15.046789373404605</c:v>
                </c:pt>
                <c:pt idx="27">
                  <c:v>11.525635941805161</c:v>
                </c:pt>
                <c:pt idx="28">
                  <c:v>9.4682178029926938</c:v>
                </c:pt>
                <c:pt idx="29">
                  <c:v>8.1989648218347551</c:v>
                </c:pt>
                <c:pt idx="30">
                  <c:v>8.5367498894009799</c:v>
                </c:pt>
                <c:pt idx="31">
                  <c:v>10.727234873012263</c:v>
                </c:pt>
                <c:pt idx="32">
                  <c:v>12.856304389793321</c:v>
                </c:pt>
                <c:pt idx="33">
                  <c:v>13.306684479881623</c:v>
                </c:pt>
                <c:pt idx="34">
                  <c:v>12.1193187878306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E$2:$E$36</c:f>
              <c:numCache>
                <c:formatCode>General</c:formatCode>
                <c:ptCount val="35"/>
                <c:pt idx="0">
                  <c:v>6.4929825107548148E-2</c:v>
                </c:pt>
                <c:pt idx="1">
                  <c:v>5.7715400095598349E-2</c:v>
                </c:pt>
                <c:pt idx="2">
                  <c:v>6.3727420938889834E-2</c:v>
                </c:pt>
                <c:pt idx="3">
                  <c:v>8.2965887637422617E-2</c:v>
                </c:pt>
                <c:pt idx="4">
                  <c:v>0.13106205438375459</c:v>
                </c:pt>
                <c:pt idx="5">
                  <c:v>0.18637264614203633</c:v>
                </c:pt>
                <c:pt idx="6">
                  <c:v>0.27535055462275043</c:v>
                </c:pt>
                <c:pt idx="7">
                  <c:v>0.43767511739162074</c:v>
                </c:pt>
                <c:pt idx="8">
                  <c:v>0.67935835529193878</c:v>
                </c:pt>
                <c:pt idx="9">
                  <c:v>0.92705361403554842</c:v>
                </c:pt>
                <c:pt idx="10">
                  <c:v>1.04609162673272</c:v>
                </c:pt>
                <c:pt idx="11">
                  <c:v>0.98837622663712177</c:v>
                </c:pt>
                <c:pt idx="12">
                  <c:v>0.87655263895189994</c:v>
                </c:pt>
                <c:pt idx="13">
                  <c:v>0.91863678485494027</c:v>
                </c:pt>
                <c:pt idx="14">
                  <c:v>1.0761517309491775</c:v>
                </c:pt>
                <c:pt idx="15">
                  <c:v>1.2625243770912138</c:v>
                </c:pt>
                <c:pt idx="16">
                  <c:v>1.9226442656846199</c:v>
                </c:pt>
                <c:pt idx="17">
                  <c:v>2.7450887170468965</c:v>
                </c:pt>
                <c:pt idx="18">
                  <c:v>3.4797576640971171</c:v>
                </c:pt>
                <c:pt idx="19">
                  <c:v>4.6472921118643251</c:v>
                </c:pt>
                <c:pt idx="20">
                  <c:v>5.8280530054867743</c:v>
                </c:pt>
                <c:pt idx="21">
                  <c:v>6.7490945986790321</c:v>
                </c:pt>
                <c:pt idx="22">
                  <c:v>6.9258480114718006</c:v>
                </c:pt>
                <c:pt idx="23">
                  <c:v>6.2296559978186465</c:v>
                </c:pt>
                <c:pt idx="24">
                  <c:v>5.1787547544112931</c:v>
                </c:pt>
                <c:pt idx="25">
                  <c:v>3.7382745603586511</c:v>
                </c:pt>
                <c:pt idx="26">
                  <c:v>2.5911809834586341</c:v>
                </c:pt>
                <c:pt idx="27">
                  <c:v>2.0693375742609326</c:v>
                </c:pt>
                <c:pt idx="28">
                  <c:v>1.6605201569171109</c:v>
                </c:pt>
                <c:pt idx="29">
                  <c:v>1.5559109942438387</c:v>
                </c:pt>
                <c:pt idx="30">
                  <c:v>1.8324639530352476</c:v>
                </c:pt>
                <c:pt idx="31">
                  <c:v>2.1931852036327371</c:v>
                </c:pt>
                <c:pt idx="32">
                  <c:v>2.3410809163777082</c:v>
                </c:pt>
                <c:pt idx="33">
                  <c:v>1.9803596657802183</c:v>
                </c:pt>
                <c:pt idx="34">
                  <c:v>1.1783560852851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G$2:$G$36</c:f>
              <c:numCache>
                <c:formatCode>General</c:formatCode>
                <c:ptCount val="35"/>
                <c:pt idx="0">
                  <c:v>9.1913955899109501E-2</c:v>
                </c:pt>
                <c:pt idx="1">
                  <c:v>0.1034032003864982</c:v>
                </c:pt>
                <c:pt idx="2">
                  <c:v>0.14936017833605295</c:v>
                </c:pt>
                <c:pt idx="3">
                  <c:v>0.24701875647885677</c:v>
                </c:pt>
                <c:pt idx="4">
                  <c:v>0.35042195686535493</c:v>
                </c:pt>
                <c:pt idx="5">
                  <c:v>0.47680364622663046</c:v>
                </c:pt>
                <c:pt idx="6">
                  <c:v>0.53424986866357393</c:v>
                </c:pt>
                <c:pt idx="7">
                  <c:v>0.46531440173924177</c:v>
                </c:pt>
                <c:pt idx="8">
                  <c:v>0.49978213520140785</c:v>
                </c:pt>
                <c:pt idx="9">
                  <c:v>0.51127137968879655</c:v>
                </c:pt>
                <c:pt idx="10">
                  <c:v>0.45382515725185313</c:v>
                </c:pt>
                <c:pt idx="11">
                  <c:v>0.47105902398293614</c:v>
                </c:pt>
                <c:pt idx="12">
                  <c:v>0.367655823596438</c:v>
                </c:pt>
                <c:pt idx="13">
                  <c:v>0.29297573442841152</c:v>
                </c:pt>
                <c:pt idx="14">
                  <c:v>0.29872035667210589</c:v>
                </c:pt>
                <c:pt idx="15">
                  <c:v>0.40212355705860409</c:v>
                </c:pt>
                <c:pt idx="16">
                  <c:v>0.74105626943657033</c:v>
                </c:pt>
                <c:pt idx="17">
                  <c:v>1.252327649125367</c:v>
                </c:pt>
                <c:pt idx="18">
                  <c:v>1.7463651620830807</c:v>
                </c:pt>
                <c:pt idx="19">
                  <c:v>2.0910424967047412</c:v>
                </c:pt>
                <c:pt idx="20">
                  <c:v>2.9814589444773643</c:v>
                </c:pt>
                <c:pt idx="21">
                  <c:v>4.2108081046279544</c:v>
                </c:pt>
                <c:pt idx="22">
                  <c:v>4.7852703289973881</c:v>
                </c:pt>
                <c:pt idx="23">
                  <c:v>4.8369719291906375</c:v>
                </c:pt>
                <c:pt idx="24">
                  <c:v>4.1361280154599269</c:v>
                </c:pt>
                <c:pt idx="25">
                  <c:v>2.7918864104354508</c:v>
                </c:pt>
                <c:pt idx="26">
                  <c:v>1.8382791179821898</c:v>
                </c:pt>
                <c:pt idx="27">
                  <c:v>1.2465830268816727</c:v>
                </c:pt>
                <c:pt idx="28">
                  <c:v>0.8387148475793742</c:v>
                </c:pt>
                <c:pt idx="29">
                  <c:v>0.64914231353746077</c:v>
                </c:pt>
                <c:pt idx="30">
                  <c:v>0.57446222436943439</c:v>
                </c:pt>
                <c:pt idx="31">
                  <c:v>0.62041920231898917</c:v>
                </c:pt>
                <c:pt idx="32">
                  <c:v>0.75254551392395908</c:v>
                </c:pt>
                <c:pt idx="33">
                  <c:v>0.94211804796587229</c:v>
                </c:pt>
                <c:pt idx="34">
                  <c:v>0.792757869629819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J$2:$J$36</c:f>
              <c:numCache>
                <c:formatCode>General</c:formatCode>
                <c:ptCount val="35"/>
                <c:pt idx="0">
                  <c:v>0.68233062433146752</c:v>
                </c:pt>
                <c:pt idx="1">
                  <c:v>0.48737901737961964</c:v>
                </c:pt>
                <c:pt idx="2">
                  <c:v>0.35302047745334614</c:v>
                </c:pt>
                <c:pt idx="3">
                  <c:v>0.21602745635204759</c:v>
                </c:pt>
                <c:pt idx="4">
                  <c:v>0.12908957757622355</c:v>
                </c:pt>
                <c:pt idx="5">
                  <c:v>0.12645509640119862</c:v>
                </c:pt>
                <c:pt idx="6">
                  <c:v>0.11328269052607376</c:v>
                </c:pt>
                <c:pt idx="7">
                  <c:v>8.9572359950849015E-2</c:v>
                </c:pt>
                <c:pt idx="8">
                  <c:v>0.1080137281760238</c:v>
                </c:pt>
                <c:pt idx="9">
                  <c:v>0.16070335167652322</c:v>
                </c:pt>
                <c:pt idx="10">
                  <c:v>0.21866193752707258</c:v>
                </c:pt>
                <c:pt idx="11">
                  <c:v>0.28452396690269688</c:v>
                </c:pt>
                <c:pt idx="12">
                  <c:v>0.38463425155364572</c:v>
                </c:pt>
                <c:pt idx="13">
                  <c:v>0.545337603230169</c:v>
                </c:pt>
                <c:pt idx="14">
                  <c:v>0.78244090898241636</c:v>
                </c:pt>
                <c:pt idx="15">
                  <c:v>1.1064820935104878</c:v>
                </c:pt>
                <c:pt idx="16">
                  <c:v>1.5227301191644331</c:v>
                </c:pt>
                <c:pt idx="17">
                  <c:v>2.3657640951724237</c:v>
                </c:pt>
                <c:pt idx="18">
                  <c:v>3.4643427451578366</c:v>
                </c:pt>
                <c:pt idx="19">
                  <c:v>4.9185763537716207</c:v>
                </c:pt>
                <c:pt idx="20">
                  <c:v>8.1431813120021843</c:v>
                </c:pt>
                <c:pt idx="21">
                  <c:v>11.062186453929852</c:v>
                </c:pt>
                <c:pt idx="22">
                  <c:v>12.829923322371609</c:v>
                </c:pt>
                <c:pt idx="23">
                  <c:v>14.365825847411168</c:v>
                </c:pt>
                <c:pt idx="24">
                  <c:v>15.319508032770205</c:v>
                </c:pt>
                <c:pt idx="25">
                  <c:v>15.398542468020954</c:v>
                </c:pt>
                <c:pt idx="26">
                  <c:v>16.083507573527449</c:v>
                </c:pt>
                <c:pt idx="27">
                  <c:v>14.294694855685492</c:v>
                </c:pt>
                <c:pt idx="28">
                  <c:v>12.445289070817962</c:v>
                </c:pt>
                <c:pt idx="29">
                  <c:v>10.804007298777405</c:v>
                </c:pt>
                <c:pt idx="30">
                  <c:v>7.518809273521267</c:v>
                </c:pt>
                <c:pt idx="31">
                  <c:v>7.1868646454681206</c:v>
                </c:pt>
                <c:pt idx="32">
                  <c:v>7.7480091357484397</c:v>
                </c:pt>
                <c:pt idx="33">
                  <c:v>8.4988362706305569</c:v>
                </c:pt>
                <c:pt idx="34">
                  <c:v>8.4224363165548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0.23592685099219599</c:v>
                </c:pt>
                <c:pt idx="1">
                  <c:v>0.12358073147210266</c:v>
                </c:pt>
                <c:pt idx="2">
                  <c:v>6.7407671712056E-2</c:v>
                </c:pt>
                <c:pt idx="3">
                  <c:v>0.10111150756808399</c:v>
                </c:pt>
                <c:pt idx="4">
                  <c:v>0.10111150756808399</c:v>
                </c:pt>
                <c:pt idx="5">
                  <c:v>0.14604995537612134</c:v>
                </c:pt>
                <c:pt idx="6">
                  <c:v>0.19098840318415863</c:v>
                </c:pt>
                <c:pt idx="7">
                  <c:v>0.16851917928013999</c:v>
                </c:pt>
                <c:pt idx="8">
                  <c:v>0.38197680636831727</c:v>
                </c:pt>
                <c:pt idx="9">
                  <c:v>0.71901516492859729</c:v>
                </c:pt>
                <c:pt idx="10">
                  <c:v>0.84259589640069998</c:v>
                </c:pt>
                <c:pt idx="11">
                  <c:v>1.145930419104952</c:v>
                </c:pt>
                <c:pt idx="12">
                  <c:v>1.4717341657132226</c:v>
                </c:pt>
                <c:pt idx="13">
                  <c:v>1.3818572700971479</c:v>
                </c:pt>
                <c:pt idx="14">
                  <c:v>1.3144495983850919</c:v>
                </c:pt>
                <c:pt idx="15">
                  <c:v>1.550376449377288</c:v>
                </c:pt>
                <c:pt idx="16">
                  <c:v>1.6851917928014</c:v>
                </c:pt>
                <c:pt idx="17">
                  <c:v>1.8424763601295304</c:v>
                </c:pt>
                <c:pt idx="18">
                  <c:v>2.6963068684822398</c:v>
                </c:pt>
                <c:pt idx="19">
                  <c:v>4.6511293481318638</c:v>
                </c:pt>
                <c:pt idx="20">
                  <c:v>6.4149634245973282</c:v>
                </c:pt>
                <c:pt idx="21">
                  <c:v>7.8192899185984963</c:v>
                </c:pt>
                <c:pt idx="22">
                  <c:v>8.6169473671911589</c:v>
                </c:pt>
                <c:pt idx="23">
                  <c:v>7.6058322915103185</c:v>
                </c:pt>
                <c:pt idx="24">
                  <c:v>5.7184174835727504</c:v>
                </c:pt>
                <c:pt idx="25">
                  <c:v>3.5276681529309304</c:v>
                </c:pt>
                <c:pt idx="26">
                  <c:v>2.258157002353876</c:v>
                </c:pt>
                <c:pt idx="27">
                  <c:v>1.7975379123214932</c:v>
                </c:pt>
                <c:pt idx="28">
                  <c:v>1.3930918820491573</c:v>
                </c:pt>
                <c:pt idx="29">
                  <c:v>1.3706226581451386</c:v>
                </c:pt>
                <c:pt idx="30">
                  <c:v>1.7076610167054185</c:v>
                </c:pt>
                <c:pt idx="31">
                  <c:v>2.2918608382099039</c:v>
                </c:pt>
                <c:pt idx="32">
                  <c:v>2.8872952716663987</c:v>
                </c:pt>
                <c:pt idx="33">
                  <c:v>3.3928528095068189</c:v>
                </c:pt>
                <c:pt idx="34">
                  <c:v>3.4827297051228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L$2:$L$36</c:f>
              <c:numCache>
                <c:formatCode>General</c:formatCode>
                <c:ptCount val="35"/>
                <c:pt idx="0">
                  <c:v>0.31147665033612915</c:v>
                </c:pt>
                <c:pt idx="1">
                  <c:v>0.21986587082550288</c:v>
                </c:pt>
                <c:pt idx="2">
                  <c:v>0.25651018262975339</c:v>
                </c:pt>
                <c:pt idx="3">
                  <c:v>0.23818802672762815</c:v>
                </c:pt>
                <c:pt idx="4">
                  <c:v>0.23818802672762815</c:v>
                </c:pt>
                <c:pt idx="5">
                  <c:v>0.1282550913148767</c:v>
                </c:pt>
                <c:pt idx="6">
                  <c:v>7.3288623608500969E-2</c:v>
                </c:pt>
                <c:pt idx="7">
                  <c:v>0.10993293541275144</c:v>
                </c:pt>
                <c:pt idx="8">
                  <c:v>7.3288623608500969E-2</c:v>
                </c:pt>
                <c:pt idx="9">
                  <c:v>7.3288623608500969E-2</c:v>
                </c:pt>
                <c:pt idx="10">
                  <c:v>0.21986587082550288</c:v>
                </c:pt>
                <c:pt idx="11">
                  <c:v>0.40308742984675533</c:v>
                </c:pt>
                <c:pt idx="12">
                  <c:v>0.65959761247650872</c:v>
                </c:pt>
                <c:pt idx="13">
                  <c:v>1.8871820579188998</c:v>
                </c:pt>
                <c:pt idx="14">
                  <c:v>2.5467796703954084</c:v>
                </c:pt>
                <c:pt idx="15">
                  <c:v>3.2613437505782934</c:v>
                </c:pt>
                <c:pt idx="16">
                  <c:v>3.3346323741867936</c:v>
                </c:pt>
                <c:pt idx="17">
                  <c:v>3.4995317773059207</c:v>
                </c:pt>
                <c:pt idx="18">
                  <c:v>6.4493988775480853</c:v>
                </c:pt>
                <c:pt idx="19">
                  <c:v>10.132152213875258</c:v>
                </c:pt>
                <c:pt idx="20">
                  <c:v>11.909401336381407</c:v>
                </c:pt>
                <c:pt idx="21">
                  <c:v>13.613361835279056</c:v>
                </c:pt>
                <c:pt idx="22">
                  <c:v>17.974034939984861</c:v>
                </c:pt>
                <c:pt idx="23">
                  <c:v>19.677995438882508</c:v>
                </c:pt>
                <c:pt idx="24">
                  <c:v>21.400278093682282</c:v>
                </c:pt>
                <c:pt idx="25">
                  <c:v>18.871820579188999</c:v>
                </c:pt>
                <c:pt idx="26">
                  <c:v>12.312488766228164</c:v>
                </c:pt>
                <c:pt idx="27">
                  <c:v>9.9672528107561327</c:v>
                </c:pt>
                <c:pt idx="28">
                  <c:v>11.213159412100648</c:v>
                </c:pt>
                <c:pt idx="29">
                  <c:v>12.568998948857915</c:v>
                </c:pt>
                <c:pt idx="30">
                  <c:v>8.7579905212158664</c:v>
                </c:pt>
                <c:pt idx="31">
                  <c:v>5.4600024588333218</c:v>
                </c:pt>
                <c:pt idx="32">
                  <c:v>5.0385928730844416</c:v>
                </c:pt>
                <c:pt idx="33">
                  <c:v>5.1118814966929422</c:v>
                </c:pt>
                <c:pt idx="34">
                  <c:v>6.96241924280759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6</c:f>
              <c:numCache>
                <c:formatCode>General</c:formatCode>
                <c:ptCount val="35"/>
                <c:pt idx="0">
                  <c:v>0.41831621638306304</c:v>
                </c:pt>
                <c:pt idx="1">
                  <c:v>0.36338580413074162</c:v>
                </c:pt>
                <c:pt idx="2">
                  <c:v>0.51550079190640097</c:v>
                </c:pt>
                <c:pt idx="3">
                  <c:v>1.1070590777006315</c:v>
                </c:pt>
                <c:pt idx="4">
                  <c:v>1.9141135961770464</c:v>
                </c:pt>
                <c:pt idx="5">
                  <c:v>2.5458133370787421</c:v>
                </c:pt>
                <c:pt idx="6">
                  <c:v>3.0465251718402877</c:v>
                </c:pt>
                <c:pt idx="7">
                  <c:v>3.1099064167468122</c:v>
                </c:pt>
                <c:pt idx="8">
                  <c:v>2.7486333207796214</c:v>
                </c:pt>
                <c:pt idx="9">
                  <c:v>2.3979237656301846</c:v>
                </c:pt>
                <c:pt idx="10">
                  <c:v>1.9901710900648757</c:v>
                </c:pt>
                <c:pt idx="11">
                  <c:v>1.603545496135075</c:v>
                </c:pt>
                <c:pt idx="12">
                  <c:v>1.221145318532376</c:v>
                </c:pt>
                <c:pt idx="13">
                  <c:v>0.87043576338293926</c:v>
                </c:pt>
                <c:pt idx="14">
                  <c:v>0.68240473682691605</c:v>
                </c:pt>
                <c:pt idx="15">
                  <c:v>0.56198037150451907</c:v>
                </c:pt>
                <c:pt idx="16">
                  <c:v>0.51761350006995177</c:v>
                </c:pt>
                <c:pt idx="17">
                  <c:v>0.47747204496248613</c:v>
                </c:pt>
                <c:pt idx="18">
                  <c:v>0.42254163271016471</c:v>
                </c:pt>
                <c:pt idx="19">
                  <c:v>0.55141683068676495</c:v>
                </c:pt>
                <c:pt idx="20">
                  <c:v>0.67395390417271273</c:v>
                </c:pt>
                <c:pt idx="21">
                  <c:v>0.69719369397177178</c:v>
                </c:pt>
                <c:pt idx="22">
                  <c:v>0.92325346747170989</c:v>
                </c:pt>
                <c:pt idx="23">
                  <c:v>1.2253707348594776</c:v>
                </c:pt>
                <c:pt idx="24">
                  <c:v>1.6225598696070325</c:v>
                </c:pt>
                <c:pt idx="25">
                  <c:v>2.0577777512985023</c:v>
                </c:pt>
                <c:pt idx="26">
                  <c:v>2.4929956329899721</c:v>
                </c:pt>
                <c:pt idx="27">
                  <c:v>3.2282180739056581</c:v>
                </c:pt>
                <c:pt idx="28">
                  <c:v>4.407109229167018</c:v>
                </c:pt>
                <c:pt idx="29">
                  <c:v>5.5141683068676501</c:v>
                </c:pt>
                <c:pt idx="30">
                  <c:v>6.2050238763487693</c:v>
                </c:pt>
                <c:pt idx="31">
                  <c:v>6.2240382498207261</c:v>
                </c:pt>
                <c:pt idx="32">
                  <c:v>5.33670082112938</c:v>
                </c:pt>
                <c:pt idx="33">
                  <c:v>3.893721145424168</c:v>
                </c:pt>
                <c:pt idx="34">
                  <c:v>2.21623086356481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402A-4B81-99E3-A430AA945502}"/>
              </c:ext>
            </c:extLst>
          </c:dPt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H$2:$H$36</c:f>
              <c:numCache>
                <c:formatCode>General</c:formatCode>
                <c:ptCount val="35"/>
                <c:pt idx="0">
                  <c:v>0.42609548009228287</c:v>
                </c:pt>
                <c:pt idx="1">
                  <c:v>0.62591956730797416</c:v>
                </c:pt>
                <c:pt idx="2">
                  <c:v>0.90067768722954977</c:v>
                </c:pt>
                <c:pt idx="3">
                  <c:v>1.257716313651704</c:v>
                </c:pt>
                <c:pt idx="4">
                  <c:v>1.6279785929043082</c:v>
                </c:pt>
                <c:pt idx="5">
                  <c:v>1.7837238373518325</c:v>
                </c:pt>
                <c:pt idx="6">
                  <c:v>1.8410263329504497</c:v>
                </c:pt>
                <c:pt idx="7">
                  <c:v>2.0467275992018967</c:v>
                </c:pt>
                <c:pt idx="8">
                  <c:v>2.3141392453287777</c:v>
                </c:pt>
                <c:pt idx="9">
                  <c:v>2.5536342910358192</c:v>
                </c:pt>
                <c:pt idx="10">
                  <c:v>2.8460239480646621</c:v>
                </c:pt>
                <c:pt idx="11">
                  <c:v>2.9591596445029578</c:v>
                </c:pt>
                <c:pt idx="12">
                  <c:v>2.7637434415640829</c:v>
                </c:pt>
                <c:pt idx="13">
                  <c:v>2.4860467321246298</c:v>
                </c:pt>
                <c:pt idx="14">
                  <c:v>2.3200164243645336</c:v>
                </c:pt>
                <c:pt idx="15">
                  <c:v>2.4860467321246298</c:v>
                </c:pt>
                <c:pt idx="16">
                  <c:v>2.8342695899931507</c:v>
                </c:pt>
                <c:pt idx="17">
                  <c:v>3.2295098801477167</c:v>
                </c:pt>
                <c:pt idx="18">
                  <c:v>3.4190489040508356</c:v>
                </c:pt>
                <c:pt idx="19">
                  <c:v>3.1633916159954656</c:v>
                </c:pt>
                <c:pt idx="20">
                  <c:v>2.8680633694487456</c:v>
                </c:pt>
                <c:pt idx="21">
                  <c:v>2.671177871750932</c:v>
                </c:pt>
                <c:pt idx="22">
                  <c:v>2.5080861535087133</c:v>
                </c:pt>
                <c:pt idx="23">
                  <c:v>2.4243363522491954</c:v>
                </c:pt>
                <c:pt idx="24">
                  <c:v>2.3479330247843726</c:v>
                </c:pt>
                <c:pt idx="25">
                  <c:v>2.3582180880969448</c:v>
                </c:pt>
                <c:pt idx="28">
                  <c:v>5.1807333200185841</c:v>
                </c:pt>
                <c:pt idx="29">
                  <c:v>5.5318947674049834</c:v>
                </c:pt>
                <c:pt idx="30">
                  <c:v>4.4989805518709316</c:v>
                </c:pt>
                <c:pt idx="31">
                  <c:v>3.9494643120277808</c:v>
                </c:pt>
                <c:pt idx="32">
                  <c:v>4.0567228294303206</c:v>
                </c:pt>
                <c:pt idx="33">
                  <c:v>3.3250140394787451</c:v>
                </c:pt>
                <c:pt idx="34">
                  <c:v>2.5800815966967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I$2:$I$36</c:f>
              <c:numCache>
                <c:formatCode>General</c:formatCode>
                <c:ptCount val="35"/>
                <c:pt idx="0">
                  <c:v>0.1735743471000934</c:v>
                </c:pt>
                <c:pt idx="1">
                  <c:v>8.6787173550046698E-2</c:v>
                </c:pt>
                <c:pt idx="2">
                  <c:v>6.0751021485032683E-2</c:v>
                </c:pt>
                <c:pt idx="3">
                  <c:v>9.5465890905051351E-2</c:v>
                </c:pt>
                <c:pt idx="4">
                  <c:v>0.18225306445509803</c:v>
                </c:pt>
                <c:pt idx="5">
                  <c:v>0.19961049916510737</c:v>
                </c:pt>
                <c:pt idx="6">
                  <c:v>0.1909317818101027</c:v>
                </c:pt>
                <c:pt idx="7">
                  <c:v>0.35582741155519143</c:v>
                </c:pt>
                <c:pt idx="8">
                  <c:v>0.2777189553601494</c:v>
                </c:pt>
                <c:pt idx="9">
                  <c:v>0.34714869420018679</c:v>
                </c:pt>
                <c:pt idx="10">
                  <c:v>0.41657843304022413</c:v>
                </c:pt>
                <c:pt idx="11">
                  <c:v>0.3384699768451821</c:v>
                </c:pt>
                <c:pt idx="12">
                  <c:v>0.46865073717025213</c:v>
                </c:pt>
                <c:pt idx="13">
                  <c:v>0.48600817188026146</c:v>
                </c:pt>
                <c:pt idx="14">
                  <c:v>0.53808047601028952</c:v>
                </c:pt>
                <c:pt idx="15">
                  <c:v>0.78976327930542489</c:v>
                </c:pt>
                <c:pt idx="16">
                  <c:v>0.93730147434050426</c:v>
                </c:pt>
                <c:pt idx="17">
                  <c:v>1.2931288858956957</c:v>
                </c:pt>
                <c:pt idx="18">
                  <c:v>1.3278437553157143</c:v>
                </c:pt>
                <c:pt idx="19">
                  <c:v>1.7010286015809153</c:v>
                </c:pt>
                <c:pt idx="20">
                  <c:v>2.256466512301214</c:v>
                </c:pt>
                <c:pt idx="21">
                  <c:v>2.5775790544363866</c:v>
                </c:pt>
                <c:pt idx="22">
                  <c:v>3.0375510742516338</c:v>
                </c:pt>
                <c:pt idx="23">
                  <c:v>2.6904023800514474</c:v>
                </c:pt>
                <c:pt idx="24">
                  <c:v>2.1696793387511675</c:v>
                </c:pt>
                <c:pt idx="25">
                  <c:v>1.8919603833910179</c:v>
                </c:pt>
                <c:pt idx="26">
                  <c:v>1.3452011900257237</c:v>
                </c:pt>
                <c:pt idx="27">
                  <c:v>1.128233256150607</c:v>
                </c:pt>
                <c:pt idx="28">
                  <c:v>1.206341712345649</c:v>
                </c:pt>
                <c:pt idx="29">
                  <c:v>1.5274542544808216</c:v>
                </c:pt>
                <c:pt idx="30">
                  <c:v>2.0047837090060785</c:v>
                </c:pt>
                <c:pt idx="31">
                  <c:v>2.6036152065014009</c:v>
                </c:pt>
                <c:pt idx="32">
                  <c:v>2.7858682709564988</c:v>
                </c:pt>
                <c:pt idx="33">
                  <c:v>2.334574968496256</c:v>
                </c:pt>
                <c:pt idx="34">
                  <c:v>1.2670927338306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C$2:$C$36</c:f>
              <c:numCache>
                <c:formatCode>General</c:formatCode>
                <c:ptCount val="35"/>
                <c:pt idx="0">
                  <c:v>6.5457639135588858E-2</c:v>
                </c:pt>
                <c:pt idx="1">
                  <c:v>2.8053273915252371E-2</c:v>
                </c:pt>
                <c:pt idx="2">
                  <c:v>2.8053273915252371E-2</c:v>
                </c:pt>
                <c:pt idx="3">
                  <c:v>2.8053273915252371E-2</c:v>
                </c:pt>
                <c:pt idx="4">
                  <c:v>3.7404365220336494E-2</c:v>
                </c:pt>
                <c:pt idx="5">
                  <c:v>3.7404365220336494E-2</c:v>
                </c:pt>
                <c:pt idx="6">
                  <c:v>4.6755456525420618E-2</c:v>
                </c:pt>
                <c:pt idx="7">
                  <c:v>8.4159821745757105E-2</c:v>
                </c:pt>
                <c:pt idx="8">
                  <c:v>7.4808730440672988E-2</c:v>
                </c:pt>
                <c:pt idx="9">
                  <c:v>1.8702182610168247E-2</c:v>
                </c:pt>
                <c:pt idx="10">
                  <c:v>5.6106547830504741E-2</c:v>
                </c:pt>
                <c:pt idx="11">
                  <c:v>0.14026636957626185</c:v>
                </c:pt>
                <c:pt idx="12">
                  <c:v>0.1215641869660936</c:v>
                </c:pt>
                <c:pt idx="13">
                  <c:v>0.14026636957626185</c:v>
                </c:pt>
                <c:pt idx="14">
                  <c:v>0.2431283739321872</c:v>
                </c:pt>
                <c:pt idx="15">
                  <c:v>0.4956078391694585</c:v>
                </c:pt>
                <c:pt idx="16">
                  <c:v>0.81354494354231877</c:v>
                </c:pt>
                <c:pt idx="17">
                  <c:v>1.5335789740337964</c:v>
                </c:pt>
                <c:pt idx="18">
                  <c:v>2.8520828480506575</c:v>
                </c:pt>
                <c:pt idx="19">
                  <c:v>4.3108530916437804</c:v>
                </c:pt>
                <c:pt idx="20">
                  <c:v>6.4241997265927928</c:v>
                </c:pt>
                <c:pt idx="21">
                  <c:v>7.1629359396944379</c:v>
                </c:pt>
                <c:pt idx="22">
                  <c:v>7.7988101484401584</c:v>
                </c:pt>
                <c:pt idx="23">
                  <c:v>7.5743839571181395</c:v>
                </c:pt>
                <c:pt idx="24">
                  <c:v>6.676679191830063</c:v>
                </c:pt>
                <c:pt idx="25">
                  <c:v>5.0215360308301742</c:v>
                </c:pt>
                <c:pt idx="26">
                  <c:v>3.8152452524743219</c:v>
                </c:pt>
                <c:pt idx="27">
                  <c:v>3.0671579480675928</c:v>
                </c:pt>
                <c:pt idx="28">
                  <c:v>2.2536130045252736</c:v>
                </c:pt>
                <c:pt idx="29">
                  <c:v>1.4868235175083755</c:v>
                </c:pt>
                <c:pt idx="30">
                  <c:v>1.5148767914236281</c:v>
                </c:pt>
                <c:pt idx="31">
                  <c:v>2.8240295741354053</c:v>
                </c:pt>
                <c:pt idx="32">
                  <c:v>3.6469256089828082</c:v>
                </c:pt>
                <c:pt idx="33">
                  <c:v>3.3570417785252005</c:v>
                </c:pt>
                <c:pt idx="34">
                  <c:v>2.9268915784913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D$2:$D$36</c:f>
              <c:numCache>
                <c:formatCode>General</c:formatCode>
                <c:ptCount val="35"/>
                <c:pt idx="0">
                  <c:v>0.3104565202226921</c:v>
                </c:pt>
                <c:pt idx="1">
                  <c:v>0.24509725280738848</c:v>
                </c:pt>
                <c:pt idx="2">
                  <c:v>0.18419429907949197</c:v>
                </c:pt>
                <c:pt idx="3">
                  <c:v>0.21835937068294611</c:v>
                </c:pt>
                <c:pt idx="4">
                  <c:v>0.43968961715749694</c:v>
                </c:pt>
                <c:pt idx="5">
                  <c:v>0.53624308038464996</c:v>
                </c:pt>
                <c:pt idx="6">
                  <c:v>0.71598106577673493</c:v>
                </c:pt>
                <c:pt idx="7">
                  <c:v>1.2477678324739778</c:v>
                </c:pt>
                <c:pt idx="8">
                  <c:v>1.1259619250181847</c:v>
                </c:pt>
                <c:pt idx="9">
                  <c:v>1.0531754681238692</c:v>
                </c:pt>
                <c:pt idx="10">
                  <c:v>0.93285499856387855</c:v>
                </c:pt>
                <c:pt idx="11">
                  <c:v>0.75757332685920087</c:v>
                </c:pt>
                <c:pt idx="12">
                  <c:v>0.62536935413279127</c:v>
                </c:pt>
                <c:pt idx="13">
                  <c:v>0.51099063615600993</c:v>
                </c:pt>
                <c:pt idx="14">
                  <c:v>0.37581578763799567</c:v>
                </c:pt>
                <c:pt idx="15">
                  <c:v>0.31194195811849446</c:v>
                </c:pt>
                <c:pt idx="16">
                  <c:v>0.30302933074368033</c:v>
                </c:pt>
                <c:pt idx="17">
                  <c:v>0.31342739601429681</c:v>
                </c:pt>
                <c:pt idx="18">
                  <c:v>0.35947597078416976</c:v>
                </c:pt>
                <c:pt idx="19">
                  <c:v>0.38027210132540279</c:v>
                </c:pt>
                <c:pt idx="20">
                  <c:v>0.49613625719798643</c:v>
                </c:pt>
                <c:pt idx="21">
                  <c:v>0.70855387629772315</c:v>
                </c:pt>
                <c:pt idx="22">
                  <c:v>0.97296182175054213</c:v>
                </c:pt>
                <c:pt idx="23">
                  <c:v>1.3784863673045851</c:v>
                </c:pt>
                <c:pt idx="24">
                  <c:v>1.604272927466543</c:v>
                </c:pt>
                <c:pt idx="25">
                  <c:v>1.7750982854838135</c:v>
                </c:pt>
                <c:pt idx="26">
                  <c:v>2.0335644793534233</c:v>
                </c:pt>
                <c:pt idx="27">
                  <c:v>2.3053996142852542</c:v>
                </c:pt>
                <c:pt idx="28">
                  <c:v>2.3648171301173484</c:v>
                </c:pt>
                <c:pt idx="29">
                  <c:v>2.6351668271533768</c:v>
                </c:pt>
                <c:pt idx="30">
                  <c:v>3.0867399474772932</c:v>
                </c:pt>
                <c:pt idx="31">
                  <c:v>3.1639827180590152</c:v>
                </c:pt>
                <c:pt idx="32">
                  <c:v>3.1907206001834574</c:v>
                </c:pt>
                <c:pt idx="33">
                  <c:v>2.7599436104007751</c:v>
                </c:pt>
                <c:pt idx="34">
                  <c:v>2.1642830141840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F$2:$F$36</c:f>
              <c:numCache>
                <c:formatCode>General</c:formatCode>
                <c:ptCount val="35"/>
                <c:pt idx="0">
                  <c:v>0.29677327970086864</c:v>
                </c:pt>
                <c:pt idx="1">
                  <c:v>0.21126233470231326</c:v>
                </c:pt>
                <c:pt idx="2">
                  <c:v>0.15425503803660967</c:v>
                </c:pt>
                <c:pt idx="3">
                  <c:v>0.13748818607610863</c:v>
                </c:pt>
                <c:pt idx="4">
                  <c:v>0.19449548274181222</c:v>
                </c:pt>
                <c:pt idx="5">
                  <c:v>0.2598862053877663</c:v>
                </c:pt>
                <c:pt idx="6">
                  <c:v>0.35545726156262231</c:v>
                </c:pt>
                <c:pt idx="7">
                  <c:v>0.53486257753998356</c:v>
                </c:pt>
                <c:pt idx="8">
                  <c:v>0.57342633704913593</c:v>
                </c:pt>
                <c:pt idx="9">
                  <c:v>0.70756115273314446</c:v>
                </c:pt>
                <c:pt idx="10">
                  <c:v>0.67738081920424253</c:v>
                </c:pt>
                <c:pt idx="11">
                  <c:v>0.65558391165559116</c:v>
                </c:pt>
                <c:pt idx="12">
                  <c:v>0.64887717087139074</c:v>
                </c:pt>
                <c:pt idx="13">
                  <c:v>0.56001285548073509</c:v>
                </c:pt>
                <c:pt idx="14">
                  <c:v>0.45270500293352844</c:v>
                </c:pt>
                <c:pt idx="15">
                  <c:v>0.40240444705202522</c:v>
                </c:pt>
                <c:pt idx="16">
                  <c:v>0.47785528087427998</c:v>
                </c:pt>
                <c:pt idx="17">
                  <c:v>0.45941174371772886</c:v>
                </c:pt>
                <c:pt idx="18">
                  <c:v>0.47785528087427998</c:v>
                </c:pt>
                <c:pt idx="19">
                  <c:v>0.65390722645954102</c:v>
                </c:pt>
                <c:pt idx="20">
                  <c:v>0.67402744881214238</c:v>
                </c:pt>
                <c:pt idx="21">
                  <c:v>0.83331254243690223</c:v>
                </c:pt>
                <c:pt idx="22">
                  <c:v>0.87355298714210494</c:v>
                </c:pt>
                <c:pt idx="23">
                  <c:v>1.0663717846878669</c:v>
                </c:pt>
                <c:pt idx="24">
                  <c:v>1.3581150088005851</c:v>
                </c:pt>
                <c:pt idx="25">
                  <c:v>1.626384640168602</c:v>
                </c:pt>
                <c:pt idx="26">
                  <c:v>1.735369177911859</c:v>
                </c:pt>
                <c:pt idx="27">
                  <c:v>2.3339457929017464</c:v>
                </c:pt>
                <c:pt idx="28">
                  <c:v>3.4640316150395178</c:v>
                </c:pt>
                <c:pt idx="29">
                  <c:v>4.0559014892452048</c:v>
                </c:pt>
                <c:pt idx="30">
                  <c:v>4.4029753248275769</c:v>
                </c:pt>
                <c:pt idx="31">
                  <c:v>4.3962685840433755</c:v>
                </c:pt>
                <c:pt idx="32">
                  <c:v>3.7624815799364359</c:v>
                </c:pt>
                <c:pt idx="33">
                  <c:v>3.3097765770029079</c:v>
                </c:pt>
                <c:pt idx="34">
                  <c:v>2.6340724429947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K$2:$K$36</c:f>
              <c:numCache>
                <c:formatCode>General</c:formatCode>
                <c:ptCount val="35"/>
                <c:pt idx="0">
                  <c:v>7.1651377968593361E-2</c:v>
                </c:pt>
                <c:pt idx="1">
                  <c:v>0.11259502252207527</c:v>
                </c:pt>
                <c:pt idx="2">
                  <c:v>7.1651377968593361E-2</c:v>
                </c:pt>
                <c:pt idx="3">
                  <c:v>2.0471822276740961E-2</c:v>
                </c:pt>
                <c:pt idx="4">
                  <c:v>5.1179555691852403E-2</c:v>
                </c:pt>
                <c:pt idx="5">
                  <c:v>7.1651377968593361E-2</c:v>
                </c:pt>
                <c:pt idx="6">
                  <c:v>4.0943644553481921E-2</c:v>
                </c:pt>
                <c:pt idx="7">
                  <c:v>0.13306684479881625</c:v>
                </c:pt>
                <c:pt idx="8">
                  <c:v>7.1651377968593361E-2</c:v>
                </c:pt>
                <c:pt idx="9">
                  <c:v>0.15353866707555719</c:v>
                </c:pt>
                <c:pt idx="10">
                  <c:v>0.32754915642785537</c:v>
                </c:pt>
                <c:pt idx="11">
                  <c:v>0.40943644553481923</c:v>
                </c:pt>
                <c:pt idx="12">
                  <c:v>0.46061600122667157</c:v>
                </c:pt>
                <c:pt idx="13">
                  <c:v>0.71651377968593355</c:v>
                </c:pt>
                <c:pt idx="14">
                  <c:v>0.65509831285571074</c:v>
                </c:pt>
                <c:pt idx="15">
                  <c:v>1.218073425466087</c:v>
                </c:pt>
                <c:pt idx="16">
                  <c:v>2.12906951678106</c:v>
                </c:pt>
                <c:pt idx="17">
                  <c:v>4.0124771662412284</c:v>
                </c:pt>
                <c:pt idx="18">
                  <c:v>6.6840499733559238</c:v>
                </c:pt>
                <c:pt idx="19">
                  <c:v>8.9359504237974292</c:v>
                </c:pt>
                <c:pt idx="20">
                  <c:v>10.174495671540257</c:v>
                </c:pt>
                <c:pt idx="21">
                  <c:v>12.600406611334062</c:v>
                </c:pt>
                <c:pt idx="22">
                  <c:v>13.603525902894367</c:v>
                </c:pt>
                <c:pt idx="23">
                  <c:v>12.549227055642207</c:v>
                </c:pt>
                <c:pt idx="24">
                  <c:v>10.276854782923962</c:v>
                </c:pt>
                <c:pt idx="25">
                  <c:v>8.6493449119230554</c:v>
                </c:pt>
                <c:pt idx="26">
                  <c:v>6.39744446148155</c:v>
                </c:pt>
                <c:pt idx="27">
                  <c:v>5.1281914803236104</c:v>
                </c:pt>
                <c:pt idx="28">
                  <c:v>4.3400263226690834</c:v>
                </c:pt>
                <c:pt idx="29">
                  <c:v>3.8589384991656712</c:v>
                </c:pt>
                <c:pt idx="30">
                  <c:v>4.6778113902353091</c:v>
                </c:pt>
                <c:pt idx="31">
                  <c:v>6.0494234827769535</c:v>
                </c:pt>
                <c:pt idx="32">
                  <c:v>6.8068809070163692</c:v>
                </c:pt>
                <c:pt idx="33">
                  <c:v>6.4998035728652539</c:v>
                </c:pt>
                <c:pt idx="34">
                  <c:v>5.61951521496539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E$2:$E$36</c:f>
              <c:numCache>
                <c:formatCode>General</c:formatCode>
                <c:ptCount val="35"/>
                <c:pt idx="0">
                  <c:v>2.8857700047799174E-2</c:v>
                </c:pt>
                <c:pt idx="1">
                  <c:v>2.8857700047799174E-2</c:v>
                </c:pt>
                <c:pt idx="2">
                  <c:v>3.4869720891090666E-2</c:v>
                </c:pt>
                <c:pt idx="3">
                  <c:v>4.809616674633195E-2</c:v>
                </c:pt>
                <c:pt idx="4">
                  <c:v>8.2965887637422617E-2</c:v>
                </c:pt>
                <c:pt idx="5">
                  <c:v>0.1034067585046137</c:v>
                </c:pt>
                <c:pt idx="6">
                  <c:v>0.17194379611813673</c:v>
                </c:pt>
                <c:pt idx="7">
                  <c:v>0.26573132127348403</c:v>
                </c:pt>
                <c:pt idx="8">
                  <c:v>0.4136270340184548</c:v>
                </c:pt>
                <c:pt idx="9">
                  <c:v>0.51342658001709363</c:v>
                </c:pt>
                <c:pt idx="10">
                  <c:v>0.53266504671562642</c:v>
                </c:pt>
                <c:pt idx="11">
                  <c:v>0.45571117992149524</c:v>
                </c:pt>
                <c:pt idx="12">
                  <c:v>0.4208414590304046</c:v>
                </c:pt>
                <c:pt idx="13">
                  <c:v>0.49779532582453578</c:v>
                </c:pt>
                <c:pt idx="14">
                  <c:v>0.5783564051246417</c:v>
                </c:pt>
                <c:pt idx="15">
                  <c:v>0.68416797196657209</c:v>
                </c:pt>
                <c:pt idx="16">
                  <c:v>1.2384762937180478</c:v>
                </c:pt>
                <c:pt idx="17">
                  <c:v>1.5066124233288485</c:v>
                </c:pt>
                <c:pt idx="18">
                  <c:v>1.9731452407682684</c:v>
                </c:pt>
                <c:pt idx="19">
                  <c:v>2.6741468710960565</c:v>
                </c:pt>
                <c:pt idx="20">
                  <c:v>3.1539061343907178</c:v>
                </c:pt>
                <c:pt idx="21">
                  <c:v>3.5951884642883134</c:v>
                </c:pt>
                <c:pt idx="22">
                  <c:v>3.3306595471834877</c:v>
                </c:pt>
                <c:pt idx="23">
                  <c:v>2.8989964506351584</c:v>
                </c:pt>
                <c:pt idx="24">
                  <c:v>2.2797583037761346</c:v>
                </c:pt>
                <c:pt idx="25">
                  <c:v>1.4585162565825167</c:v>
                </c:pt>
                <c:pt idx="26">
                  <c:v>1.1326647268761174</c:v>
                </c:pt>
                <c:pt idx="27">
                  <c:v>0.93667284738481482</c:v>
                </c:pt>
                <c:pt idx="28">
                  <c:v>0.72384730953229592</c:v>
                </c:pt>
                <c:pt idx="29">
                  <c:v>0.83206368471154279</c:v>
                </c:pt>
                <c:pt idx="30">
                  <c:v>1.0004002683237045</c:v>
                </c:pt>
                <c:pt idx="31">
                  <c:v>1.1927849353090325</c:v>
                </c:pt>
                <c:pt idx="32">
                  <c:v>1.1482959810686755</c:v>
                </c:pt>
                <c:pt idx="33">
                  <c:v>0.83206368471154279</c:v>
                </c:pt>
                <c:pt idx="34">
                  <c:v>0.34629240057359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G$2:$G$36</c:f>
              <c:numCache>
                <c:formatCode>General</c:formatCode>
                <c:ptCount val="35"/>
                <c:pt idx="0">
                  <c:v>4.0212355705860403E-2</c:v>
                </c:pt>
                <c:pt idx="1">
                  <c:v>6.3190844680637778E-2</c:v>
                </c:pt>
                <c:pt idx="2">
                  <c:v>8.6169333655415153E-2</c:v>
                </c:pt>
                <c:pt idx="3">
                  <c:v>0.16084942282344161</c:v>
                </c:pt>
                <c:pt idx="4">
                  <c:v>0.18957253404191335</c:v>
                </c:pt>
                <c:pt idx="5">
                  <c:v>0.2872311121847172</c:v>
                </c:pt>
                <c:pt idx="6">
                  <c:v>0.24701875647885677</c:v>
                </c:pt>
                <c:pt idx="7">
                  <c:v>0.21829564526038508</c:v>
                </c:pt>
                <c:pt idx="8">
                  <c:v>0.28148648994102282</c:v>
                </c:pt>
                <c:pt idx="9">
                  <c:v>0.22978488974777372</c:v>
                </c:pt>
                <c:pt idx="10">
                  <c:v>0.22404026750407943</c:v>
                </c:pt>
                <c:pt idx="11">
                  <c:v>0.24701875647885677</c:v>
                </c:pt>
                <c:pt idx="12">
                  <c:v>0.12063706711758121</c:v>
                </c:pt>
                <c:pt idx="13">
                  <c:v>0.17233866731083031</c:v>
                </c:pt>
                <c:pt idx="14">
                  <c:v>0.12638168936127556</c:v>
                </c:pt>
                <c:pt idx="15">
                  <c:v>0.2757418676973285</c:v>
                </c:pt>
                <c:pt idx="16">
                  <c:v>0.46531440173924177</c:v>
                </c:pt>
                <c:pt idx="17">
                  <c:v>0.7870132473861251</c:v>
                </c:pt>
                <c:pt idx="18">
                  <c:v>0.95935191469695535</c:v>
                </c:pt>
                <c:pt idx="19">
                  <c:v>1.1316905820077856</c:v>
                </c:pt>
                <c:pt idx="20">
                  <c:v>1.8497683624695784</c:v>
                </c:pt>
                <c:pt idx="21">
                  <c:v>2.3610397421583751</c:v>
                </c:pt>
                <c:pt idx="22">
                  <c:v>2.424230586839013</c:v>
                </c:pt>
                <c:pt idx="23">
                  <c:v>2.4127413423516244</c:v>
                </c:pt>
                <c:pt idx="24">
                  <c:v>1.7233866731083032</c:v>
                </c:pt>
                <c:pt idx="25">
                  <c:v>1.0684997373271479</c:v>
                </c:pt>
                <c:pt idx="26">
                  <c:v>0.76977938065504203</c:v>
                </c:pt>
                <c:pt idx="27">
                  <c:v>0.47680364622663046</c:v>
                </c:pt>
                <c:pt idx="28">
                  <c:v>0.36191120135274363</c:v>
                </c:pt>
                <c:pt idx="29">
                  <c:v>0.2872311121847172</c:v>
                </c:pt>
                <c:pt idx="30">
                  <c:v>0.2872311121847172</c:v>
                </c:pt>
                <c:pt idx="31">
                  <c:v>0.33318809013427192</c:v>
                </c:pt>
                <c:pt idx="32">
                  <c:v>0.4193574237896871</c:v>
                </c:pt>
                <c:pt idx="33">
                  <c:v>0.5227606241761853</c:v>
                </c:pt>
                <c:pt idx="34">
                  <c:v>0.26999724545363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J$2:$J$36</c:f>
              <c:numCache>
                <c:formatCode>General</c:formatCode>
                <c:ptCount val="35"/>
                <c:pt idx="0">
                  <c:v>0.2792550045526469</c:v>
                </c:pt>
                <c:pt idx="1">
                  <c:v>0.20812401282697271</c:v>
                </c:pt>
                <c:pt idx="2">
                  <c:v>0.1448964646263734</c:v>
                </c:pt>
                <c:pt idx="3">
                  <c:v>7.113099172567422E-2</c:v>
                </c:pt>
                <c:pt idx="4">
                  <c:v>5.795858585054936E-2</c:v>
                </c:pt>
                <c:pt idx="5">
                  <c:v>6.8496510550649245E-2</c:v>
                </c:pt>
                <c:pt idx="6">
                  <c:v>4.4786179975424507E-2</c:v>
                </c:pt>
                <c:pt idx="7">
                  <c:v>4.4786179975424507E-2</c:v>
                </c:pt>
                <c:pt idx="8">
                  <c:v>6.3227548200599309E-2</c:v>
                </c:pt>
                <c:pt idx="9">
                  <c:v>9.7475803475923925E-2</c:v>
                </c:pt>
                <c:pt idx="10">
                  <c:v>0.12118613405114867</c:v>
                </c:pt>
                <c:pt idx="11">
                  <c:v>0.16333783285154821</c:v>
                </c:pt>
                <c:pt idx="12">
                  <c:v>0.22129641870209754</c:v>
                </c:pt>
                <c:pt idx="13">
                  <c:v>0.32404118452807146</c:v>
                </c:pt>
                <c:pt idx="14">
                  <c:v>0.45839972445434496</c:v>
                </c:pt>
                <c:pt idx="15">
                  <c:v>0.64808236905614292</c:v>
                </c:pt>
                <c:pt idx="16">
                  <c:v>0.87464775010829032</c:v>
                </c:pt>
                <c:pt idx="17">
                  <c:v>1.4911163450641336</c:v>
                </c:pt>
                <c:pt idx="18">
                  <c:v>1.973226400093703</c:v>
                </c:pt>
                <c:pt idx="19">
                  <c:v>2.9453499536779173</c:v>
                </c:pt>
                <c:pt idx="20">
                  <c:v>5.1978313583242679</c:v>
                </c:pt>
                <c:pt idx="21">
                  <c:v>5.8643550956055854</c:v>
                </c:pt>
                <c:pt idx="22">
                  <c:v>6.9655682267660222</c:v>
                </c:pt>
                <c:pt idx="23">
                  <c:v>7.400257620645144</c:v>
                </c:pt>
                <c:pt idx="24">
                  <c:v>7.9192504121250629</c:v>
                </c:pt>
                <c:pt idx="25">
                  <c:v>7.4792920558958924</c:v>
                </c:pt>
                <c:pt idx="26">
                  <c:v>8.6042155176315553</c:v>
                </c:pt>
                <c:pt idx="27">
                  <c:v>5.6904793380539367</c:v>
                </c:pt>
                <c:pt idx="28">
                  <c:v>6.7548097327640244</c:v>
                </c:pt>
                <c:pt idx="29">
                  <c:v>4.0491975660133805</c:v>
                </c:pt>
                <c:pt idx="30">
                  <c:v>3.4696117075078865</c:v>
                </c:pt>
                <c:pt idx="31">
                  <c:v>3.7172529379602337</c:v>
                </c:pt>
                <c:pt idx="32">
                  <c:v>4.0307561977882056</c:v>
                </c:pt>
                <c:pt idx="33">
                  <c:v>4.4680800728423504</c:v>
                </c:pt>
                <c:pt idx="34">
                  <c:v>3.95435624371248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0.10111150756808399</c:v>
                </c:pt>
                <c:pt idx="1">
                  <c:v>2.2469223904018665E-2</c:v>
                </c:pt>
                <c:pt idx="2">
                  <c:v>4.4938447808037331E-2</c:v>
                </c:pt>
                <c:pt idx="3">
                  <c:v>5.6173059760046662E-2</c:v>
                </c:pt>
                <c:pt idx="4">
                  <c:v>4.4938447808037331E-2</c:v>
                </c:pt>
                <c:pt idx="5">
                  <c:v>0.10111150756808399</c:v>
                </c:pt>
                <c:pt idx="6">
                  <c:v>8.9876895616074662E-2</c:v>
                </c:pt>
                <c:pt idx="7">
                  <c:v>7.8642283664065324E-2</c:v>
                </c:pt>
                <c:pt idx="8">
                  <c:v>0.30333452270425199</c:v>
                </c:pt>
                <c:pt idx="9">
                  <c:v>0.41568064222434531</c:v>
                </c:pt>
                <c:pt idx="10">
                  <c:v>0.42691525417635462</c:v>
                </c:pt>
                <c:pt idx="11">
                  <c:v>0.71901516492859729</c:v>
                </c:pt>
                <c:pt idx="12">
                  <c:v>0.75271900078462528</c:v>
                </c:pt>
                <c:pt idx="13">
                  <c:v>0.62913826931252259</c:v>
                </c:pt>
                <c:pt idx="14">
                  <c:v>0.68531132907256931</c:v>
                </c:pt>
                <c:pt idx="15">
                  <c:v>0.86506512030471872</c:v>
                </c:pt>
                <c:pt idx="16">
                  <c:v>0.82012667249668136</c:v>
                </c:pt>
                <c:pt idx="17">
                  <c:v>1.0223496876328493</c:v>
                </c:pt>
                <c:pt idx="18">
                  <c:v>1.6739571808493905</c:v>
                </c:pt>
                <c:pt idx="19">
                  <c:v>2.9771721672824731</c:v>
                </c:pt>
                <c:pt idx="20">
                  <c:v>3.4377912573148559</c:v>
                </c:pt>
                <c:pt idx="21">
                  <c:v>4.38149866128364</c:v>
                </c:pt>
                <c:pt idx="22">
                  <c:v>4.2354487059075181</c:v>
                </c:pt>
                <c:pt idx="23">
                  <c:v>3.3703835856027999</c:v>
                </c:pt>
                <c:pt idx="24">
                  <c:v>2.3480338979699504</c:v>
                </c:pt>
                <c:pt idx="25">
                  <c:v>1.17963425496098</c:v>
                </c:pt>
                <c:pt idx="26">
                  <c:v>1.078522747392896</c:v>
                </c:pt>
                <c:pt idx="27">
                  <c:v>0.71901516492859729</c:v>
                </c:pt>
                <c:pt idx="28">
                  <c:v>0.67407671712055994</c:v>
                </c:pt>
                <c:pt idx="29">
                  <c:v>0.69654594102457867</c:v>
                </c:pt>
                <c:pt idx="30">
                  <c:v>1.01111507568084</c:v>
                </c:pt>
                <c:pt idx="31">
                  <c:v>1.2807457625290639</c:v>
                </c:pt>
                <c:pt idx="32">
                  <c:v>1.6065495091373347</c:v>
                </c:pt>
                <c:pt idx="33">
                  <c:v>1.7863033003694837</c:v>
                </c:pt>
                <c:pt idx="34">
                  <c:v>1.69642640475340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L$2:$L$36</c:f>
              <c:numCache>
                <c:formatCode>0.00000</c:formatCode>
                <c:ptCount val="35"/>
                <c:pt idx="0" formatCode="General">
                  <c:v>7.3288623608500969E-2</c:v>
                </c:pt>
                <c:pt idx="1">
                  <c:v>0.14657724721700194</c:v>
                </c:pt>
                <c:pt idx="2" formatCode="General">
                  <c:v>0.10993293541275144</c:v>
                </c:pt>
                <c:pt idx="3" formatCode="General">
                  <c:v>0.1282550913148767</c:v>
                </c:pt>
                <c:pt idx="4" formatCode="General">
                  <c:v>0.10993293541275144</c:v>
                </c:pt>
                <c:pt idx="5" formatCode="General">
                  <c:v>1.8322155902125242E-2</c:v>
                </c:pt>
                <c:pt idx="6" formatCode="General">
                  <c:v>5.496646770637572E-2</c:v>
                </c:pt>
                <c:pt idx="7" formatCode="General">
                  <c:v>5.496646770637572E-2</c:v>
                </c:pt>
                <c:pt idx="8" formatCode="General">
                  <c:v>1.8322155902125242E-2</c:v>
                </c:pt>
                <c:pt idx="9" formatCode="General">
                  <c:v>5.496646770637572E-2</c:v>
                </c:pt>
                <c:pt idx="10" formatCode="General">
                  <c:v>0.16489940311912718</c:v>
                </c:pt>
                <c:pt idx="11" formatCode="General">
                  <c:v>0.23818802672762815</c:v>
                </c:pt>
                <c:pt idx="12" formatCode="General">
                  <c:v>0.42140958574888054</c:v>
                </c:pt>
                <c:pt idx="13" formatCode="General">
                  <c:v>1.4657724721700194</c:v>
                </c:pt>
                <c:pt idx="14" formatCode="General">
                  <c:v>1.0810071982253893</c:v>
                </c:pt>
                <c:pt idx="15" formatCode="General">
                  <c:v>2.1803365523529039</c:v>
                </c:pt>
                <c:pt idx="16" formatCode="General">
                  <c:v>1.1542958218338903</c:v>
                </c:pt>
                <c:pt idx="17" formatCode="General">
                  <c:v>2.345235955472031</c:v>
                </c:pt>
                <c:pt idx="18" formatCode="General">
                  <c:v>4.1041629220760543</c:v>
                </c:pt>
                <c:pt idx="19" formatCode="General">
                  <c:v>6.0279892917992042</c:v>
                </c:pt>
                <c:pt idx="20" formatCode="General">
                  <c:v>5.8814120445822029</c:v>
                </c:pt>
                <c:pt idx="21" formatCode="General">
                  <c:v>7.7319497906968531</c:v>
                </c:pt>
                <c:pt idx="22" formatCode="General">
                  <c:v>10.242085149288009</c:v>
                </c:pt>
                <c:pt idx="23" formatCode="General">
                  <c:v>9.4359102895944993</c:v>
                </c:pt>
                <c:pt idx="24" formatCode="General">
                  <c:v>11.964367804087782</c:v>
                </c:pt>
                <c:pt idx="25" formatCode="General">
                  <c:v>6.9074527751012162</c:v>
                </c:pt>
                <c:pt idx="26" formatCode="General">
                  <c:v>5.4050359911269457</c:v>
                </c:pt>
                <c:pt idx="27" formatCode="General">
                  <c:v>4.5622168196291852</c:v>
                </c:pt>
                <c:pt idx="28" formatCode="General">
                  <c:v>6.6509425924714627</c:v>
                </c:pt>
                <c:pt idx="29" formatCode="General">
                  <c:v>5.9180563563864537</c:v>
                </c:pt>
                <c:pt idx="30" formatCode="General">
                  <c:v>2.8399341648294123</c:v>
                </c:pt>
                <c:pt idx="31" formatCode="General">
                  <c:v>2.6200682940039095</c:v>
                </c:pt>
                <c:pt idx="32" formatCode="General">
                  <c:v>2.4185245790805316</c:v>
                </c:pt>
                <c:pt idx="33" formatCode="General">
                  <c:v>2.6933569176124106</c:v>
                </c:pt>
                <c:pt idx="34" formatCode="General">
                  <c:v>4.26906232519518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6</c:f>
              <c:numCache>
                <c:formatCode>General</c:formatCode>
                <c:ptCount val="35"/>
                <c:pt idx="0">
                  <c:v>0.18169290206537081</c:v>
                </c:pt>
                <c:pt idx="1">
                  <c:v>0.18169290206537081</c:v>
                </c:pt>
                <c:pt idx="2">
                  <c:v>0.3338078898410301</c:v>
                </c:pt>
                <c:pt idx="3">
                  <c:v>0.77325118785960145</c:v>
                </c:pt>
                <c:pt idx="4">
                  <c:v>1.1408624083174448</c:v>
                </c:pt>
                <c:pt idx="5">
                  <c:v>1.4049509287612976</c:v>
                </c:pt>
                <c:pt idx="6">
                  <c:v>1.6415742430789899</c:v>
                </c:pt>
                <c:pt idx="7">
                  <c:v>1.4683321736678223</c:v>
                </c:pt>
                <c:pt idx="8">
                  <c:v>1.2803011471117989</c:v>
                </c:pt>
                <c:pt idx="9">
                  <c:v>1.1176226185183857</c:v>
                </c:pt>
                <c:pt idx="10">
                  <c:v>0.87254847154649007</c:v>
                </c:pt>
                <c:pt idx="11">
                  <c:v>0.73099702458858495</c:v>
                </c:pt>
                <c:pt idx="12">
                  <c:v>0.49014829394379106</c:v>
                </c:pt>
                <c:pt idx="13">
                  <c:v>0.38028746943914826</c:v>
                </c:pt>
                <c:pt idx="14">
                  <c:v>0.30211726738776779</c:v>
                </c:pt>
                <c:pt idx="15">
                  <c:v>0.25986310411675129</c:v>
                </c:pt>
                <c:pt idx="16">
                  <c:v>0.25775039595320048</c:v>
                </c:pt>
                <c:pt idx="17">
                  <c:v>0.21972164900928567</c:v>
                </c:pt>
                <c:pt idx="18">
                  <c:v>0.20281998370087906</c:v>
                </c:pt>
                <c:pt idx="19">
                  <c:v>0.34859684698588589</c:v>
                </c:pt>
                <c:pt idx="20">
                  <c:v>0.32535705718682684</c:v>
                </c:pt>
                <c:pt idx="21">
                  <c:v>0.37183663678494494</c:v>
                </c:pt>
                <c:pt idx="22">
                  <c:v>0.55141683068676495</c:v>
                </c:pt>
                <c:pt idx="23">
                  <c:v>0.67395390417271273</c:v>
                </c:pt>
                <c:pt idx="24">
                  <c:v>0.94860596543431974</c:v>
                </c:pt>
                <c:pt idx="25">
                  <c:v>1.1091717858641825</c:v>
                </c:pt>
                <c:pt idx="26">
                  <c:v>1.3838238471257895</c:v>
                </c:pt>
                <c:pt idx="27">
                  <c:v>1.8443942267798688</c:v>
                </c:pt>
                <c:pt idx="28">
                  <c:v>2.562715002387149</c:v>
                </c:pt>
                <c:pt idx="29">
                  <c:v>2.9514533044805003</c:v>
                </c:pt>
                <c:pt idx="30">
                  <c:v>3.2535705718682681</c:v>
                </c:pt>
                <c:pt idx="31">
                  <c:v>2.9704676779524579</c:v>
                </c:pt>
                <c:pt idx="32">
                  <c:v>2.3662331431769226</c:v>
                </c:pt>
                <c:pt idx="33">
                  <c:v>1.5274880022472455</c:v>
                </c:pt>
                <c:pt idx="34">
                  <c:v>0.68874286131756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B9DB-4435-AD02-84089FF3FB66}"/>
              </c:ext>
            </c:extLst>
          </c:dPt>
          <c:cat>
            <c:strRef>
              <c:f>List1!$A$2:$A$36</c:f>
              <c:strCache>
                <c:ptCount val="35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</c:strCache>
            </c:strRef>
          </c:cat>
          <c:val>
            <c:numRef>
              <c:f>List1!$H$2:$H$36</c:f>
              <c:numCache>
                <c:formatCode>General</c:formatCode>
                <c:ptCount val="35"/>
                <c:pt idx="0">
                  <c:v>0.24831081426067519</c:v>
                </c:pt>
                <c:pt idx="1">
                  <c:v>0.37760875304729896</c:v>
                </c:pt>
                <c:pt idx="2">
                  <c:v>0.52306893418225076</c:v>
                </c:pt>
                <c:pt idx="3">
                  <c:v>0.73464737946945324</c:v>
                </c:pt>
                <c:pt idx="4">
                  <c:v>0.893331213434855</c:v>
                </c:pt>
                <c:pt idx="5">
                  <c:v>0.89039262391697738</c:v>
                </c:pt>
                <c:pt idx="6">
                  <c:v>0.95063370903347244</c:v>
                </c:pt>
                <c:pt idx="7">
                  <c:v>1.0960938901684243</c:v>
                </c:pt>
                <c:pt idx="8">
                  <c:v>1.2180453551603534</c:v>
                </c:pt>
                <c:pt idx="9">
                  <c:v>1.335588935875466</c:v>
                </c:pt>
                <c:pt idx="10">
                  <c:v>1.5104350121891958</c:v>
                </c:pt>
                <c:pt idx="11">
                  <c:v>1.4487246323137617</c:v>
                </c:pt>
                <c:pt idx="12">
                  <c:v>1.3150188092503212</c:v>
                </c:pt>
                <c:pt idx="13">
                  <c:v>1.1710279228743086</c:v>
                </c:pt>
                <c:pt idx="14">
                  <c:v>1.148988501490225</c:v>
                </c:pt>
                <c:pt idx="15">
                  <c:v>1.337058230634405</c:v>
                </c:pt>
                <c:pt idx="16">
                  <c:v>1.4972113593587457</c:v>
                </c:pt>
                <c:pt idx="17">
                  <c:v>1.7322985207889707</c:v>
                </c:pt>
                <c:pt idx="18">
                  <c:v>1.6867503832618647</c:v>
                </c:pt>
                <c:pt idx="19">
                  <c:v>1.4766412327336012</c:v>
                </c:pt>
                <c:pt idx="20">
                  <c:v>1.3914221367151445</c:v>
                </c:pt>
                <c:pt idx="21">
                  <c:v>1.2797557350357875</c:v>
                </c:pt>
                <c:pt idx="22">
                  <c:v>1.2283304184729258</c:v>
                </c:pt>
                <c:pt idx="23">
                  <c:v>1.1960059337762698</c:v>
                </c:pt>
                <c:pt idx="24">
                  <c:v>1.1519270910081025</c:v>
                </c:pt>
                <c:pt idx="25">
                  <c:v>1.2062909970888422</c:v>
                </c:pt>
                <c:pt idx="26">
                  <c:v>0</c:v>
                </c:pt>
                <c:pt idx="27">
                  <c:v>2.3640952671327007</c:v>
                </c:pt>
                <c:pt idx="28">
                  <c:v>2.8166380528858839</c:v>
                </c:pt>
                <c:pt idx="29">
                  <c:v>2.7152567145190991</c:v>
                </c:pt>
                <c:pt idx="30">
                  <c:v>1.7837238373518325</c:v>
                </c:pt>
                <c:pt idx="31">
                  <c:v>2.1657404746759479</c:v>
                </c:pt>
                <c:pt idx="32">
                  <c:v>1.8909823547543727</c:v>
                </c:pt>
                <c:pt idx="33">
                  <c:v>1.4340316847243728</c:v>
                </c:pt>
                <c:pt idx="34">
                  <c:v>1.14604991197234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4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34142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27895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026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04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36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chart" Target="../charts/chart8.xml"/><Relationship Id="rId4" Type="http://schemas.openxmlformats.org/officeDocument/2006/relationships/tags" Target="../tags/tag52.xml"/><Relationship Id="rId9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chart" Target="../charts/chart9.xml"/><Relationship Id="rId4" Type="http://schemas.openxmlformats.org/officeDocument/2006/relationships/tags" Target="../tags/tag59.xml"/><Relationship Id="rId9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chart" Target="../charts/chart10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chart" Target="../charts/chart1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chart" Target="../charts/chart1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1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2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7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3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877541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4.2. 20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7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. 2022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8. týden roku 2022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5143457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3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87294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týdnu (14</a:t>
            </a:r>
            <a:r>
              <a:rPr lang="cs-CZ" sz="1600" dirty="0">
                <a:solidFill>
                  <a:srgbClr val="000000"/>
                </a:solidFill>
              </a:rPr>
              <a:t>.2.—20.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a </a:t>
            </a:r>
            <a:r>
              <a:rPr lang="cs-CZ" sz="1600" noProof="0" dirty="0">
                <a:solidFill>
                  <a:srgbClr val="000000"/>
                </a:solidFill>
                <a:latin typeface="Arial" panose="020B0604020202020204"/>
              </a:rPr>
              <a:t>8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 </a:t>
            </a:r>
            <a:r>
              <a:rPr lang="cs-CZ" sz="1600" dirty="0">
                <a:solidFill>
                  <a:srgbClr val="000000"/>
                </a:solidFill>
              </a:rPr>
              <a:t>týdnu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2 </a:t>
            </a:r>
          </a:p>
          <a:p>
            <a:pPr lvl="0" algn="ctr">
              <a:defRPr/>
            </a:pPr>
            <a:r>
              <a:rPr lang="cs-CZ" sz="1600" dirty="0">
                <a:solidFill>
                  <a:srgbClr val="000000"/>
                </a:solidFill>
              </a:rPr>
              <a:t>(21.2.—27.2.)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8. týden roku 2022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4757926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3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2432897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89071" y="366633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1649" y="392039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398000" y="431077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390275" y="411019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828333" y="1981047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7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. 2022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3.3. 2022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4484355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0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8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1,3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8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4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8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9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7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5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9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7580024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4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8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6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2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9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9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8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3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7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9240302-8EF9-44FF-BE9E-83ECEB3AB4ED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1011671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0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8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8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9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8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1,3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3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9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8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7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3975004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5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4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9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7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4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7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6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9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8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3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2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2199946-02DE-42BF-806B-1FDEE8F5FB8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3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7B1BD28-10EF-4703-B505-F31E255AC1EA}"/>
              </a:ext>
            </a:extLst>
          </p:cNvPr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ADB589D1-4971-40F7-BC58-E4364F4933B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672853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0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8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8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9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8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3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1,3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9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8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96709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5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4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7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6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9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4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7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9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8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2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3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05B2A00-318E-49DC-8B3F-6321E7CB57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3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FABB83D-5FFB-44C0-BA3C-FCF7D4C844B1}"/>
              </a:ext>
            </a:extLst>
          </p:cNvPr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3F6892A-7689-4C32-BFEC-21E96E9890B3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813348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70692" y="458002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881" y="394519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439389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60976" y="476326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8. týdne roku 2022 (21.2.—27.2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8891948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48330" y="436046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56644" y="410874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58607" y="456245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43282" y="478482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59226529-17EF-4D97-A0A2-10EBEC6C052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8. týdne roku 2022 (21.2.—27.2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9705604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27.2. 2022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  <a:p>
            <a:pPr algn="ctr"/>
            <a:endParaRPr lang="cs-CZ" sz="1600" b="1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a počtu úmrtí za 5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450440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983897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2.3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59782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927945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2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5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2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1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1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0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283600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2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5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4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3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0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9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8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5,1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0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3.3. 2022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3153063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2.3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61474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6157774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2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1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1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0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8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7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7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5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3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7346041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2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2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2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1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1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8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7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4,2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2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0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5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9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5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3.3. 2022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9170452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 vykázaným očkováním posilující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 2.3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745633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3042258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582819"/>
              </p:ext>
            </p:extLst>
          </p:nvPr>
        </p:nvGraphicFramePr>
        <p:xfrm>
          <a:off x="775744" y="840581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2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7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5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7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7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4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1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1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1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1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657479"/>
              </p:ext>
            </p:extLst>
          </p:nvPr>
        </p:nvGraphicFramePr>
        <p:xfrm>
          <a:off x="6058960" y="857516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2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0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9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9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5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6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5,6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9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7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3.3. 2022</a:t>
            </a:r>
          </a:p>
        </p:txBody>
      </p:sp>
    </p:spTree>
    <p:extLst>
      <p:ext uri="{BB962C8B-B14F-4D97-AF65-F5344CB8AC3E}">
        <p14:creationId xmlns:p14="http://schemas.microsoft.com/office/powerpoint/2010/main" val="12319774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 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očkováním posilující 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2.3. 2022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52525773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00106" y="6193805"/>
            <a:ext cx="7390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posilující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 fontScale="90000"/>
          </a:bodyPr>
          <a:lstStyle/>
          <a:p>
            <a:r>
              <a:rPr lang="cs-CZ" sz="2000" dirty="0">
                <a:latin typeface="+mj-lt"/>
              </a:rPr>
              <a:t>Srovnání podílů osob s vykázaným úplným očkováním a osob s vykázaným očkováním posilující dávkou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5104019" y="690389"/>
            <a:ext cx="70757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638514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13.2. 2022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27.2. 2022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1187780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4468687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374234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8. týdne roku 2022 (21.2.—27.2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95785" y="374243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93669" y="499179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93822" y="517566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5509" y="473606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284629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8. týdne roku 2022 (21.2.—27.2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9BC0D0-959D-4E8E-A71C-05A83CEEEA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577" y="429925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EBFAB1-1614-4ECE-A214-7AF399DB0350}"/>
              </a:ext>
            </a:extLst>
          </p:cNvPr>
          <p:cNvSpPr txBox="1"/>
          <p:nvPr/>
        </p:nvSpPr>
        <p:spPr>
          <a:xfrm>
            <a:off x="8268730" y="506660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1AA9DE3-6FB8-4639-B002-0E7FCE4D52A6}"/>
              </a:ext>
            </a:extLst>
          </p:cNvPr>
          <p:cNvSpPr txBox="1"/>
          <p:nvPr/>
        </p:nvSpPr>
        <p:spPr>
          <a:xfrm>
            <a:off x="8277196" y="525046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B9D7D5B-AF10-44B6-8594-DAA0A2D654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8772" y="490430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6. týdnu vs. 5. týdnu a 8. týdnu vs. 7. týdnu roku 2022.</a:t>
            </a: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4775897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6719618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2504837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4.1. 2022—27.2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80 80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0 5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9 5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9 95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4 58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5 34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4 50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0 54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0 12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8 76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5 18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3 29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 01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7 10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 12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24.1. 2022 do 27.2. 2022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9793358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4.1. 2022—27.2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 9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2 3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 17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 5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9 5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7 60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 2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 07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 76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 8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 19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 0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 0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 47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 0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.3. 2022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10928"/>
            <a:ext cx="50136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</a:t>
            </a:r>
            <a:r>
              <a:rPr lang="cs-CZ" sz="1100" dirty="0" err="1">
                <a:solidFill>
                  <a:srgbClr val="000000"/>
                </a:solidFill>
              </a:rPr>
              <a:t>Švédksa</a:t>
            </a:r>
            <a:r>
              <a:rPr lang="cs-CZ" sz="1100" dirty="0">
                <a:solidFill>
                  <a:srgbClr val="000000"/>
                </a:solidFill>
              </a:rPr>
              <a:t> nejsou dostupné údaje o počtu provedených testů za 8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2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22235</TotalTime>
  <Words>3303</Words>
  <Application>Microsoft Office PowerPoint</Application>
  <PresentationFormat>Širokoúhlá obrazovka</PresentationFormat>
  <Paragraphs>1064</Paragraphs>
  <Slides>27</Slides>
  <Notes>22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7</vt:i4>
      </vt:variant>
    </vt:vector>
  </HeadingPairs>
  <TitlesOfParts>
    <vt:vector size="31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  od 24.1. 2022 do 27.2. 2022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Podíl osob s vykázaným očkováním posilující dávkou v zemích EU a EHP</vt:lpstr>
      <vt:lpstr>Podíl osob s vykázaným očkováním posilující dávkou v zemích EU a EHP</vt:lpstr>
      <vt:lpstr>Srovnání podílů osob s vykázaným úplným očkováním a osob s vykázaným očkováním posilující dávkou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Kouřil Jan Mgr.</cp:lastModifiedBy>
  <cp:revision>1264</cp:revision>
  <dcterms:created xsi:type="dcterms:W3CDTF">2020-11-14T13:18:43Z</dcterms:created>
  <dcterms:modified xsi:type="dcterms:W3CDTF">2022-03-04T13:51:52Z</dcterms:modified>
</cp:coreProperties>
</file>